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900" r:id="rId4"/>
  </p:sldMasterIdLst>
  <p:notesMasterIdLst>
    <p:notesMasterId r:id="rId10"/>
  </p:notesMasterIdLst>
  <p:sldIdLst>
    <p:sldId id="256" r:id="rId5"/>
    <p:sldId id="2134804587" r:id="rId6"/>
    <p:sldId id="2134804583" r:id="rId7"/>
    <p:sldId id="2134804585" r:id="rId8"/>
    <p:sldId id="2134804586" r:id="rId9"/>
  </p:sldIdLst>
  <p:sldSz cx="12192000" cy="6858000"/>
  <p:notesSz cx="7315200" cy="96012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6" orient="horz" pos="2137">
          <p15:clr>
            <a:srgbClr val="A4A3A4"/>
          </p15:clr>
        </p15:guide>
        <p15:guide id="7"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2510A3E-4D2F-4516-8595-B96F29111195}" v="3" dt="2024-09-27T07:37:53.480"/>
  </p1510:revLst>
</p1510:revInfo>
</file>

<file path=ppt/tableStyles.xml><?xml version="1.0" encoding="utf-8"?>
<a:tblStyleLst xmlns:a="http://schemas.openxmlformats.org/drawingml/2006/main" def="{5C22544A-7EE6-4342-B048-85BDC9FD1C3A}">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60"/>
  </p:normalViewPr>
  <p:slideViewPr>
    <p:cSldViewPr snapToGrid="0" showGuides="1">
      <p:cViewPr varScale="1">
        <p:scale>
          <a:sx n="104" d="100"/>
          <a:sy n="104" d="100"/>
        </p:scale>
        <p:origin x="732" y="108"/>
      </p:cViewPr>
      <p:guideLst>
        <p:guide orient="horz" pos="2137"/>
        <p:guide pos="384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oline Herrmann" userId="edf37025-ebc6-4744-b6ab-0c1fb203980c" providerId="ADAL" clId="{D2510A3E-4D2F-4516-8595-B96F29111195}"/>
    <pc:docChg chg="custSel modSld">
      <pc:chgData name="Caroline Herrmann" userId="edf37025-ebc6-4744-b6ab-0c1fb203980c" providerId="ADAL" clId="{D2510A3E-4D2F-4516-8595-B96F29111195}" dt="2024-09-27T08:12:25.210" v="177" actId="20577"/>
      <pc:docMkLst>
        <pc:docMk/>
      </pc:docMkLst>
      <pc:sldChg chg="modSp mod">
        <pc:chgData name="Caroline Herrmann" userId="edf37025-ebc6-4744-b6ab-0c1fb203980c" providerId="ADAL" clId="{D2510A3E-4D2F-4516-8595-B96F29111195}" dt="2024-09-27T07:39:24.349" v="70" actId="255"/>
        <pc:sldMkLst>
          <pc:docMk/>
          <pc:sldMk cId="1962346055" sldId="2134804583"/>
        </pc:sldMkLst>
        <pc:spChg chg="mod">
          <ac:chgData name="Caroline Herrmann" userId="edf37025-ebc6-4744-b6ab-0c1fb203980c" providerId="ADAL" clId="{D2510A3E-4D2F-4516-8595-B96F29111195}" dt="2024-09-27T07:39:00.630" v="66" actId="2711"/>
          <ac:spMkLst>
            <pc:docMk/>
            <pc:sldMk cId="1962346055" sldId="2134804583"/>
            <ac:spMk id="2" creationId="{00000000-0000-0000-0000-000000000000}"/>
          </ac:spMkLst>
        </pc:spChg>
        <pc:spChg chg="mod">
          <ac:chgData name="Caroline Herrmann" userId="edf37025-ebc6-4744-b6ab-0c1fb203980c" providerId="ADAL" clId="{D2510A3E-4D2F-4516-8595-B96F29111195}" dt="2024-09-27T07:39:24.349" v="70" actId="255"/>
          <ac:spMkLst>
            <pc:docMk/>
            <pc:sldMk cId="1962346055" sldId="2134804583"/>
            <ac:spMk id="65" creationId="{5312BE89-CBC3-4C14-82F4-27541239CDF7}"/>
          </ac:spMkLst>
        </pc:spChg>
      </pc:sldChg>
      <pc:sldChg chg="modSp mod">
        <pc:chgData name="Caroline Herrmann" userId="edf37025-ebc6-4744-b6ab-0c1fb203980c" providerId="ADAL" clId="{D2510A3E-4D2F-4516-8595-B96F29111195}" dt="2024-09-27T07:39:20.588" v="69" actId="255"/>
        <pc:sldMkLst>
          <pc:docMk/>
          <pc:sldMk cId="2363806706" sldId="2134804585"/>
        </pc:sldMkLst>
        <pc:spChg chg="mod">
          <ac:chgData name="Caroline Herrmann" userId="edf37025-ebc6-4744-b6ab-0c1fb203980c" providerId="ADAL" clId="{D2510A3E-4D2F-4516-8595-B96F29111195}" dt="2024-09-27T07:39:20.588" v="69" actId="255"/>
          <ac:spMkLst>
            <pc:docMk/>
            <pc:sldMk cId="2363806706" sldId="2134804585"/>
            <ac:spMk id="65" creationId="{5312BE89-CBC3-4C14-82F4-27541239CDF7}"/>
          </ac:spMkLst>
        </pc:spChg>
      </pc:sldChg>
      <pc:sldChg chg="modSp mod">
        <pc:chgData name="Caroline Herrmann" userId="edf37025-ebc6-4744-b6ab-0c1fb203980c" providerId="ADAL" clId="{D2510A3E-4D2F-4516-8595-B96F29111195}" dt="2024-09-27T08:12:25.210" v="177" actId="20577"/>
        <pc:sldMkLst>
          <pc:docMk/>
          <pc:sldMk cId="2750762568" sldId="2134804586"/>
        </pc:sldMkLst>
        <pc:spChg chg="mod">
          <ac:chgData name="Caroline Herrmann" userId="edf37025-ebc6-4744-b6ab-0c1fb203980c" providerId="ADAL" clId="{D2510A3E-4D2F-4516-8595-B96F29111195}" dt="2024-09-27T08:11:26.813" v="136" actId="113"/>
          <ac:spMkLst>
            <pc:docMk/>
            <pc:sldMk cId="2750762568" sldId="2134804586"/>
            <ac:spMk id="8" creationId="{176BA1F6-3AA2-0831-4D47-087BA226F7F2}"/>
          </ac:spMkLst>
        </pc:spChg>
        <pc:spChg chg="mod">
          <ac:chgData name="Caroline Herrmann" userId="edf37025-ebc6-4744-b6ab-0c1fb203980c" providerId="ADAL" clId="{D2510A3E-4D2F-4516-8595-B96F29111195}" dt="2024-09-27T08:12:25.210" v="177" actId="20577"/>
          <ac:spMkLst>
            <pc:docMk/>
            <pc:sldMk cId="2750762568" sldId="2134804586"/>
            <ac:spMk id="10" creationId="{66577810-A0EF-3EAC-4476-C90D0D04EC2D}"/>
          </ac:spMkLst>
        </pc:spChg>
        <pc:spChg chg="mod">
          <ac:chgData name="Caroline Herrmann" userId="edf37025-ebc6-4744-b6ab-0c1fb203980c" providerId="ADAL" clId="{D2510A3E-4D2F-4516-8595-B96F29111195}" dt="2024-09-27T08:11:34.546" v="151" actId="1038"/>
          <ac:spMkLst>
            <pc:docMk/>
            <pc:sldMk cId="2750762568" sldId="2134804586"/>
            <ac:spMk id="11" creationId="{29DB15C3-C0A3-D1E2-769F-9CC577728A03}"/>
          </ac:spMkLst>
        </pc:spChg>
        <pc:spChg chg="mod">
          <ac:chgData name="Caroline Herrmann" userId="edf37025-ebc6-4744-b6ab-0c1fb203980c" providerId="ADAL" clId="{D2510A3E-4D2F-4516-8595-B96F29111195}" dt="2024-09-27T08:12:05.872" v="165" actId="1076"/>
          <ac:spMkLst>
            <pc:docMk/>
            <pc:sldMk cId="2750762568" sldId="2134804586"/>
            <ac:spMk id="12" creationId="{F15AFD17-EB00-3279-F610-98CA17A72AF2}"/>
          </ac:spMkLst>
        </pc:spChg>
        <pc:picChg chg="mod">
          <ac:chgData name="Caroline Herrmann" userId="edf37025-ebc6-4744-b6ab-0c1fb203980c" providerId="ADAL" clId="{D2510A3E-4D2F-4516-8595-B96F29111195}" dt="2024-09-27T08:12:05.872" v="165" actId="1076"/>
          <ac:picMkLst>
            <pc:docMk/>
            <pc:sldMk cId="2750762568" sldId="2134804586"/>
            <ac:picMk id="14" creationId="{C4A60B02-95A5-05EE-BFB2-58FC73E9E8C9}"/>
          </ac:picMkLst>
        </pc:picChg>
        <pc:picChg chg="mod">
          <ac:chgData name="Caroline Herrmann" userId="edf37025-ebc6-4744-b6ab-0c1fb203980c" providerId="ADAL" clId="{D2510A3E-4D2F-4516-8595-B96F29111195}" dt="2024-09-27T08:11:34.546" v="151" actId="1038"/>
          <ac:picMkLst>
            <pc:docMk/>
            <pc:sldMk cId="2750762568" sldId="2134804586"/>
            <ac:picMk id="16" creationId="{35C48E97-4D74-CEBA-2F1B-9DAB9C8CC4C9}"/>
          </ac:picMkLst>
        </pc:picChg>
      </pc:sldChg>
      <pc:sldChg chg="addSp delSp modSp mod">
        <pc:chgData name="Caroline Herrmann" userId="edf37025-ebc6-4744-b6ab-0c1fb203980c" providerId="ADAL" clId="{D2510A3E-4D2F-4516-8595-B96F29111195}" dt="2024-09-27T07:39:08.679" v="68" actId="2711"/>
        <pc:sldMkLst>
          <pc:docMk/>
          <pc:sldMk cId="3930374783" sldId="2134804587"/>
        </pc:sldMkLst>
        <pc:spChg chg="mod">
          <ac:chgData name="Caroline Herrmann" userId="edf37025-ebc6-4744-b6ab-0c1fb203980c" providerId="ADAL" clId="{D2510A3E-4D2F-4516-8595-B96F29111195}" dt="2024-09-27T07:38:26.544" v="63" actId="1076"/>
          <ac:spMkLst>
            <pc:docMk/>
            <pc:sldMk cId="3930374783" sldId="2134804587"/>
            <ac:spMk id="5" creationId="{CB32D5AC-3F1B-EF15-9BF7-6BC81A913611}"/>
          </ac:spMkLst>
        </pc:spChg>
        <pc:spChg chg="mod">
          <ac:chgData name="Caroline Herrmann" userId="edf37025-ebc6-4744-b6ab-0c1fb203980c" providerId="ADAL" clId="{D2510A3E-4D2F-4516-8595-B96F29111195}" dt="2024-09-27T07:39:05.155" v="67" actId="2711"/>
          <ac:spMkLst>
            <pc:docMk/>
            <pc:sldMk cId="3930374783" sldId="2134804587"/>
            <ac:spMk id="6" creationId="{3A39EB23-99A5-E418-C633-AEC62A6462CC}"/>
          </ac:spMkLst>
        </pc:spChg>
        <pc:spChg chg="mod">
          <ac:chgData name="Caroline Herrmann" userId="edf37025-ebc6-4744-b6ab-0c1fb203980c" providerId="ADAL" clId="{D2510A3E-4D2F-4516-8595-B96F29111195}" dt="2024-09-27T07:39:08.679" v="68" actId="2711"/>
          <ac:spMkLst>
            <pc:docMk/>
            <pc:sldMk cId="3930374783" sldId="2134804587"/>
            <ac:spMk id="7" creationId="{4420D82E-ED83-EBD4-223C-49DE520E791E}"/>
          </ac:spMkLst>
        </pc:spChg>
        <pc:spChg chg="mod">
          <ac:chgData name="Caroline Herrmann" userId="edf37025-ebc6-4744-b6ab-0c1fb203980c" providerId="ADAL" clId="{D2510A3E-4D2F-4516-8595-B96F29111195}" dt="2024-09-27T07:38:33.456" v="64" actId="1076"/>
          <ac:spMkLst>
            <pc:docMk/>
            <pc:sldMk cId="3930374783" sldId="2134804587"/>
            <ac:spMk id="14" creationId="{6B73425F-EA7D-11C2-5092-92E6E5A81585}"/>
          </ac:spMkLst>
        </pc:spChg>
        <pc:spChg chg="add mod">
          <ac:chgData name="Caroline Herrmann" userId="edf37025-ebc6-4744-b6ab-0c1fb203980c" providerId="ADAL" clId="{D2510A3E-4D2F-4516-8595-B96F29111195}" dt="2024-09-27T07:36:59.416" v="6" actId="1035"/>
          <ac:spMkLst>
            <pc:docMk/>
            <pc:sldMk cId="3930374783" sldId="2134804587"/>
            <ac:spMk id="21" creationId="{8BB80DF7-6E44-0105-23FF-6D434EDD4585}"/>
          </ac:spMkLst>
        </pc:spChg>
        <pc:spChg chg="add mod ord">
          <ac:chgData name="Caroline Herrmann" userId="edf37025-ebc6-4744-b6ab-0c1fb203980c" providerId="ADAL" clId="{D2510A3E-4D2F-4516-8595-B96F29111195}" dt="2024-09-27T07:38:03.752" v="22" actId="167"/>
          <ac:spMkLst>
            <pc:docMk/>
            <pc:sldMk cId="3930374783" sldId="2134804587"/>
            <ac:spMk id="22" creationId="{8DD36520-BC13-7331-92EE-7C1200269D0F}"/>
          </ac:spMkLst>
        </pc:spChg>
        <pc:spChg chg="add del mod">
          <ac:chgData name="Caroline Herrmann" userId="edf37025-ebc6-4744-b6ab-0c1fb203980c" providerId="ADAL" clId="{D2510A3E-4D2F-4516-8595-B96F29111195}" dt="2024-09-27T07:37:59.341" v="21" actId="478"/>
          <ac:spMkLst>
            <pc:docMk/>
            <pc:sldMk cId="3930374783" sldId="2134804587"/>
            <ac:spMk id="23" creationId="{AEBCF141-A257-83A7-2CB0-E45ED1A3DAF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C2026A1D-C633-48AD-96FE-2C1E42ED9F48}" type="datetimeFigureOut">
              <a:rPr lang="de-DE" smtClean="0"/>
              <a:t>27.09.2024</a:t>
            </a:fld>
            <a:endParaRPr lang="de-DE"/>
          </a:p>
        </p:txBody>
      </p:sp>
      <p:sp>
        <p:nvSpPr>
          <p:cNvPr id="4" name="Folienbildplatzhalt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D1B9F158-4A23-4580-AD6C-A925DE488DAE}" type="slidenum">
              <a:rPr lang="de-DE" smtClean="0"/>
              <a:t>‹Nr.›</a:t>
            </a:fld>
            <a:endParaRPr lang="de-DE"/>
          </a:p>
        </p:txBody>
      </p:sp>
    </p:spTree>
    <p:extLst>
      <p:ext uri="{BB962C8B-B14F-4D97-AF65-F5344CB8AC3E}">
        <p14:creationId xmlns:p14="http://schemas.microsoft.com/office/powerpoint/2010/main" val="14822489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de-DE"/>
              <a:t>https://www.sap.com/products/erp-financial-management.html?url_id=ctabutton-glo-icon-products-erp</a:t>
            </a:r>
          </a:p>
        </p:txBody>
      </p:sp>
      <p:sp>
        <p:nvSpPr>
          <p:cNvPr id="4" name="Foliennummernplatzhalter 3"/>
          <p:cNvSpPr>
            <a:spLocks noGrp="1"/>
          </p:cNvSpPr>
          <p:nvPr>
            <p:ph type="sldNum" sz="quarter" idx="5"/>
          </p:nvPr>
        </p:nvSpPr>
        <p:spPr/>
        <p:txBody>
          <a:bodyPr/>
          <a:lstStyle/>
          <a:p>
            <a:fld id="{7EA34900-8568-4B49-B288-882BB63ECE0F}" type="slidenum">
              <a:rPr lang="de-DE" altLang="x-none" smtClean="0"/>
              <a:pPr/>
              <a:t>3</a:t>
            </a:fld>
            <a:endParaRPr lang="de-DE" altLang="x-none"/>
          </a:p>
        </p:txBody>
      </p:sp>
    </p:spTree>
    <p:extLst>
      <p:ext uri="{BB962C8B-B14F-4D97-AF65-F5344CB8AC3E}">
        <p14:creationId xmlns:p14="http://schemas.microsoft.com/office/powerpoint/2010/main" val="25176898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de-DE"/>
              <a:t>https://www.sap.com/products/erp-financial-management.html?url_id=ctabutton-glo-icon-products-erp</a:t>
            </a:r>
          </a:p>
        </p:txBody>
      </p:sp>
      <p:sp>
        <p:nvSpPr>
          <p:cNvPr id="4" name="Foliennummernplatzhalter 3"/>
          <p:cNvSpPr>
            <a:spLocks noGrp="1"/>
          </p:cNvSpPr>
          <p:nvPr>
            <p:ph type="sldNum" sz="quarter" idx="5"/>
          </p:nvPr>
        </p:nvSpPr>
        <p:spPr/>
        <p:txBody>
          <a:bodyPr/>
          <a:lstStyle/>
          <a:p>
            <a:fld id="{7EA34900-8568-4B49-B288-882BB63ECE0F}" type="slidenum">
              <a:rPr lang="de-DE" altLang="x-none" smtClean="0"/>
              <a:pPr/>
              <a:t>4</a:t>
            </a:fld>
            <a:endParaRPr lang="de-DE" altLang="x-none"/>
          </a:p>
        </p:txBody>
      </p:sp>
    </p:spTree>
    <p:extLst>
      <p:ext uri="{BB962C8B-B14F-4D97-AF65-F5344CB8AC3E}">
        <p14:creationId xmlns:p14="http://schemas.microsoft.com/office/powerpoint/2010/main" val="5256071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B  041 : title page shape right">
    <p:spTree>
      <p:nvGrpSpPr>
        <p:cNvPr id="1" name=""/>
        <p:cNvGrpSpPr/>
        <p:nvPr/>
      </p:nvGrpSpPr>
      <p:grpSpPr>
        <a:xfrm>
          <a:off x="0" y="0"/>
          <a:ext cx="0" cy="0"/>
          <a:chOff x="0" y="0"/>
          <a:chExt cx="0" cy="0"/>
        </a:xfrm>
      </p:grpSpPr>
      <p:sp>
        <p:nvSpPr>
          <p:cNvPr id="5" name="shape">
            <a:extLst>
              <a:ext uri="{FF2B5EF4-FFF2-40B4-BE49-F238E27FC236}">
                <a16:creationId xmlns:a16="http://schemas.microsoft.com/office/drawing/2014/main" id="{4BB14D95-49AB-4529-5662-66D2A1B26854}"/>
              </a:ext>
            </a:extLst>
          </p:cNvPr>
          <p:cNvSpPr/>
          <p:nvPr/>
        </p:nvSpPr>
        <p:spPr>
          <a:xfrm>
            <a:off x="6979913" y="0"/>
            <a:ext cx="5212086" cy="6858000"/>
          </a:xfrm>
          <a:custGeom>
            <a:avLst/>
            <a:gdLst>
              <a:gd name="connsiteX0" fmla="*/ 3272796 w 5212086"/>
              <a:gd name="connsiteY0" fmla="*/ 6858000 h 6858000"/>
              <a:gd name="connsiteX1" fmla="*/ 3187706 w 5212086"/>
              <a:gd name="connsiteY1" fmla="*/ 6630670 h 6858000"/>
              <a:gd name="connsiteX2" fmla="*/ 1892306 w 5212086"/>
              <a:gd name="connsiteY2" fmla="*/ 5591810 h 6858000"/>
              <a:gd name="connsiteX3" fmla="*/ 1892306 w 5212086"/>
              <a:gd name="connsiteY3" fmla="*/ 5591810 h 6858000"/>
              <a:gd name="connsiteX4" fmla="*/ 6 w 5212086"/>
              <a:gd name="connsiteY4" fmla="*/ 3322320 h 6858000"/>
              <a:gd name="connsiteX5" fmla="*/ 839476 w 5212086"/>
              <a:gd name="connsiteY5" fmla="*/ 1554480 h 6858000"/>
              <a:gd name="connsiteX6" fmla="*/ 839476 w 5212086"/>
              <a:gd name="connsiteY6" fmla="*/ 1554480 h 6858000"/>
              <a:gd name="connsiteX7" fmla="*/ 840746 w 5212086"/>
              <a:gd name="connsiteY7" fmla="*/ 1553210 h 6858000"/>
              <a:gd name="connsiteX8" fmla="*/ 843286 w 5212086"/>
              <a:gd name="connsiteY8" fmla="*/ 1550670 h 6858000"/>
              <a:gd name="connsiteX9" fmla="*/ 1903736 w 5212086"/>
              <a:gd name="connsiteY9" fmla="*/ 0 h 6858000"/>
              <a:gd name="connsiteX10" fmla="*/ 5212086 w 5212086"/>
              <a:gd name="connsiteY10" fmla="*/ 0 h 6858000"/>
              <a:gd name="connsiteX11" fmla="*/ 5212086 w 5212086"/>
              <a:gd name="connsiteY11" fmla="*/ 6858000 h 6858000"/>
              <a:gd name="connsiteX12" fmla="*/ 3272796 w 521208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2086" h="6858000">
                <a:moveTo>
                  <a:pt x="3272796" y="6858000"/>
                </a:moveTo>
                <a:cubicBezTo>
                  <a:pt x="3239776" y="6784340"/>
                  <a:pt x="3210567" y="6708140"/>
                  <a:pt x="3187706" y="6630670"/>
                </a:cubicBezTo>
                <a:cubicBezTo>
                  <a:pt x="2983236" y="5951220"/>
                  <a:pt x="2824486" y="5759450"/>
                  <a:pt x="1892306" y="5591810"/>
                </a:cubicBezTo>
                <a:lnTo>
                  <a:pt x="1892306" y="5591810"/>
                </a:lnTo>
                <a:cubicBezTo>
                  <a:pt x="814076" y="5398770"/>
                  <a:pt x="-2533" y="4456430"/>
                  <a:pt x="6" y="3322320"/>
                </a:cubicBezTo>
                <a:cubicBezTo>
                  <a:pt x="2546" y="2609850"/>
                  <a:pt x="328936" y="1974850"/>
                  <a:pt x="839476" y="1554480"/>
                </a:cubicBezTo>
                <a:lnTo>
                  <a:pt x="839476" y="1554480"/>
                </a:lnTo>
                <a:cubicBezTo>
                  <a:pt x="839476" y="1554480"/>
                  <a:pt x="840746" y="1554480"/>
                  <a:pt x="840746" y="1553210"/>
                </a:cubicBezTo>
                <a:cubicBezTo>
                  <a:pt x="842017" y="1551940"/>
                  <a:pt x="842017" y="1551940"/>
                  <a:pt x="843286" y="1550670"/>
                </a:cubicBezTo>
                <a:cubicBezTo>
                  <a:pt x="1445267" y="1055370"/>
                  <a:pt x="1798326" y="529590"/>
                  <a:pt x="1903736" y="0"/>
                </a:cubicBezTo>
                <a:lnTo>
                  <a:pt x="5212086" y="0"/>
                </a:lnTo>
                <a:lnTo>
                  <a:pt x="5212086" y="6858000"/>
                </a:lnTo>
                <a:lnTo>
                  <a:pt x="3272796"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65" name="subtitle">
            <a:extLst>
              <a:ext uri="{FF2B5EF4-FFF2-40B4-BE49-F238E27FC236}">
                <a16:creationId xmlns:a16="http://schemas.microsoft.com/office/drawing/2014/main" id="{24BBF85F-CCE6-44E7-C627-CC3E4647BA3C}"/>
              </a:ext>
            </a:extLst>
          </p:cNvPr>
          <p:cNvSpPr>
            <a:spLocks noGrp="1"/>
          </p:cNvSpPr>
          <p:nvPr>
            <p:ph type="body" sz="quarter" idx="11"/>
          </p:nvPr>
        </p:nvSpPr>
        <p:spPr>
          <a:xfrm>
            <a:off x="540000" y="5220000"/>
            <a:ext cx="6120000" cy="900000"/>
          </a:xfrm>
          <a:prstGeom prst="rect">
            <a:avLst/>
          </a:prstGeom>
          <a:noFill/>
        </p:spPr>
        <p:txBody>
          <a:bodyPr vert="horz" lIns="0" tIns="0" rIns="108000" bIns="0" rtlCol="0">
            <a:noAutofit/>
          </a:bodyPr>
          <a:lstStyle>
            <a:lvl4pPr>
              <a:defRPr lang="en-US" dirty="0">
                <a:latin typeface="Segoe UI" panose="020B0502040204020203" pitchFamily="34" charset="0"/>
                <a:cs typeface="Segoe UI" panose="020B0502040204020203" pitchFamily="34" charset="0"/>
              </a:defRPr>
            </a:lvl4pPr>
          </a:lstStyle>
          <a:p>
            <a:pPr lvl="0"/>
            <a:r>
              <a:rPr lang="de-DE"/>
              <a:t>Mastertextformat bearbeiten</a:t>
            </a:r>
          </a:p>
        </p:txBody>
      </p:sp>
      <p:sp>
        <p:nvSpPr>
          <p:cNvPr id="3" name="subhead">
            <a:extLst>
              <a:ext uri="{FF2B5EF4-FFF2-40B4-BE49-F238E27FC236}">
                <a16:creationId xmlns:a16="http://schemas.microsoft.com/office/drawing/2014/main" id="{3BC3BCD8-A855-5678-25AE-D2E54EED1B0A}"/>
              </a:ext>
            </a:extLst>
          </p:cNvPr>
          <p:cNvSpPr>
            <a:spLocks noGrp="1"/>
          </p:cNvSpPr>
          <p:nvPr>
            <p:ph type="subTitle" idx="1"/>
          </p:nvPr>
        </p:nvSpPr>
        <p:spPr>
          <a:xfrm>
            <a:off x="540000" y="3960000"/>
            <a:ext cx="6120000" cy="864000"/>
          </a:xfrm>
        </p:spPr>
        <p:txBody>
          <a:bodyPr/>
          <a:lstStyle>
            <a:lvl1pPr marL="0" indent="0" algn="l">
              <a:lnSpc>
                <a:spcPct val="100000"/>
              </a:lnSpc>
              <a:buNone/>
              <a:defRPr sz="2000" baseline="0">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le">
            <a:extLst>
              <a:ext uri="{FF2B5EF4-FFF2-40B4-BE49-F238E27FC236}">
                <a16:creationId xmlns:a16="http://schemas.microsoft.com/office/drawing/2014/main" id="{ADD89440-F2F5-D4C4-310C-AC38DD644491}"/>
              </a:ext>
            </a:extLst>
          </p:cNvPr>
          <p:cNvSpPr>
            <a:spLocks noGrp="1"/>
          </p:cNvSpPr>
          <p:nvPr>
            <p:ph type="ctrTitle"/>
          </p:nvPr>
        </p:nvSpPr>
        <p:spPr>
          <a:xfrm>
            <a:off x="540000" y="2108200"/>
            <a:ext cx="6120000" cy="1671800"/>
          </a:xfrm>
        </p:spPr>
        <p:txBody>
          <a:bodyPr vert="horz" anchor="b"/>
          <a:lstStyle>
            <a:lvl1pPr algn="l">
              <a:lnSpc>
                <a:spcPts val="4000"/>
              </a:lnSpc>
              <a:defRPr sz="3600">
                <a:solidFill>
                  <a:schemeClr val="tx1"/>
                </a:solidFill>
              </a:defRPr>
            </a:lvl1pPr>
          </a:lstStyle>
          <a:p>
            <a:r>
              <a:rPr lang="de-DE"/>
              <a:t>Mastertitelformat bearbeiten</a:t>
            </a:r>
            <a:endParaRPr lang="en-US" dirty="0"/>
          </a:p>
        </p:txBody>
      </p:sp>
      <p:pic>
        <p:nvPicPr>
          <p:cNvPr id="55" name="valantic logo">
            <a:extLst>
              <a:ext uri="{FF2B5EF4-FFF2-40B4-BE49-F238E27FC236}">
                <a16:creationId xmlns:a16="http://schemas.microsoft.com/office/drawing/2014/main" id="{F7AE2AE6-2DD6-B611-8273-3605A63BC1C8}"/>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a:stretch/>
        </p:blipFill>
        <p:spPr>
          <a:xfrm>
            <a:off x="225526" y="123982"/>
            <a:ext cx="2802006" cy="1080000"/>
          </a:xfrm>
          <a:prstGeom prst="rect">
            <a:avLst/>
          </a:prstGeom>
        </p:spPr>
      </p:pic>
    </p:spTree>
    <p:extLst>
      <p:ext uri="{BB962C8B-B14F-4D97-AF65-F5344CB8AC3E}">
        <p14:creationId xmlns:p14="http://schemas.microsoft.com/office/powerpoint/2010/main" val="32888941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  006 : 6 rectangel ">
    <p:spTree>
      <p:nvGrpSpPr>
        <p:cNvPr id="1" name=""/>
        <p:cNvGrpSpPr/>
        <p:nvPr/>
      </p:nvGrpSpPr>
      <p:grpSpPr>
        <a:xfrm>
          <a:off x="0" y="0"/>
          <a:ext cx="0" cy="0"/>
          <a:chOff x="0" y="0"/>
          <a:chExt cx="0" cy="0"/>
        </a:xfrm>
      </p:grpSpPr>
      <p:sp>
        <p:nvSpPr>
          <p:cNvPr id="5" name="slide number">
            <a:extLst>
              <a:ext uri="{FF2B5EF4-FFF2-40B4-BE49-F238E27FC236}">
                <a16:creationId xmlns:a16="http://schemas.microsoft.com/office/drawing/2014/main" id="{678EE2D6-D24D-BA37-ABA6-646300685C7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4" name="footer">
            <a:extLst>
              <a:ext uri="{FF2B5EF4-FFF2-40B4-BE49-F238E27FC236}">
                <a16:creationId xmlns:a16="http://schemas.microsoft.com/office/drawing/2014/main" id="{DC5969B5-F0D2-CF3A-F4ED-F5344E082ED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5" name="date">
            <a:extLst>
              <a:ext uri="{FF2B5EF4-FFF2-40B4-BE49-F238E27FC236}">
                <a16:creationId xmlns:a16="http://schemas.microsoft.com/office/drawing/2014/main" id="{5F2B97CA-2092-323E-F00E-2C8F8CB8F09D}"/>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6" name="content 6">
            <a:extLst>
              <a:ext uri="{FF2B5EF4-FFF2-40B4-BE49-F238E27FC236}">
                <a16:creationId xmlns:a16="http://schemas.microsoft.com/office/drawing/2014/main" id="{89C522B1-6801-8B41-4F5D-6C85B8AEBCC7}"/>
              </a:ext>
            </a:extLst>
          </p:cNvPr>
          <p:cNvSpPr>
            <a:spLocks noGrp="1"/>
          </p:cNvSpPr>
          <p:nvPr>
            <p:ph sz="quarter" idx="25"/>
          </p:nvPr>
        </p:nvSpPr>
        <p:spPr>
          <a:xfrm>
            <a:off x="8218863" y="381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10" name="content 5">
            <a:extLst>
              <a:ext uri="{FF2B5EF4-FFF2-40B4-BE49-F238E27FC236}">
                <a16:creationId xmlns:a16="http://schemas.microsoft.com/office/drawing/2014/main" id="{38904F9D-F12D-C1A2-7570-9DC56D6DD698}"/>
              </a:ext>
            </a:extLst>
          </p:cNvPr>
          <p:cNvSpPr>
            <a:spLocks noGrp="1"/>
          </p:cNvSpPr>
          <p:nvPr>
            <p:ph sz="quarter" idx="26"/>
          </p:nvPr>
        </p:nvSpPr>
        <p:spPr>
          <a:xfrm>
            <a:off x="4379432" y="381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nl-NL" noProof="0" dirty="0"/>
            </a:lvl9pPr>
          </a:lstStyle>
          <a:p>
            <a:pPr lvl="0"/>
            <a:r>
              <a:rPr lang="de-DE" noProof="0"/>
              <a:t>Mastertextformat bearbeiten</a:t>
            </a:r>
          </a:p>
        </p:txBody>
      </p:sp>
      <p:sp>
        <p:nvSpPr>
          <p:cNvPr id="11" name="content 4">
            <a:extLst>
              <a:ext uri="{FF2B5EF4-FFF2-40B4-BE49-F238E27FC236}">
                <a16:creationId xmlns:a16="http://schemas.microsoft.com/office/drawing/2014/main" id="{16D0781B-9A31-08E8-DACA-4F56FD0EAC1F}"/>
              </a:ext>
            </a:extLst>
          </p:cNvPr>
          <p:cNvSpPr>
            <a:spLocks noGrp="1"/>
          </p:cNvSpPr>
          <p:nvPr>
            <p:ph sz="quarter" idx="27"/>
          </p:nvPr>
        </p:nvSpPr>
        <p:spPr>
          <a:xfrm>
            <a:off x="540000" y="381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8218863" y="147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4379432" y="147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nl-NL" noProof="0" dirty="0"/>
            </a:lvl9pPr>
          </a:lstStyle>
          <a:p>
            <a:pPr lvl="0"/>
            <a:r>
              <a:rPr lang="de-DE" noProof="0"/>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7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8" name="navigation">
            <a:extLst>
              <a:ext uri="{FF2B5EF4-FFF2-40B4-BE49-F238E27FC236}">
                <a16:creationId xmlns:a16="http://schemas.microsoft.com/office/drawing/2014/main" id="{AFFFFF47-76BE-0C31-FAC0-58FE020C53F2}"/>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6657889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  007 : only title">
    <p:spTree>
      <p:nvGrpSpPr>
        <p:cNvPr id="1" name=""/>
        <p:cNvGrpSpPr/>
        <p:nvPr/>
      </p:nvGrpSpPr>
      <p:grpSpPr>
        <a:xfrm>
          <a:off x="0" y="0"/>
          <a:ext cx="0" cy="0"/>
          <a:chOff x="0" y="0"/>
          <a:chExt cx="0" cy="0"/>
        </a:xfrm>
      </p:grpSpPr>
      <p:sp>
        <p:nvSpPr>
          <p:cNvPr id="8" name="slide number">
            <a:extLst>
              <a:ext uri="{FF2B5EF4-FFF2-40B4-BE49-F238E27FC236}">
                <a16:creationId xmlns:a16="http://schemas.microsoft.com/office/drawing/2014/main" id="{9C2549D5-7902-05C3-BA6E-F3FCE55E3EF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9" name="footer">
            <a:extLst>
              <a:ext uri="{FF2B5EF4-FFF2-40B4-BE49-F238E27FC236}">
                <a16:creationId xmlns:a16="http://schemas.microsoft.com/office/drawing/2014/main" id="{B0528374-4148-93BC-40AD-371D0F4E79CF}"/>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0" name="date">
            <a:extLst>
              <a:ext uri="{FF2B5EF4-FFF2-40B4-BE49-F238E27FC236}">
                <a16:creationId xmlns:a16="http://schemas.microsoft.com/office/drawing/2014/main" id="{B36025A7-E938-A69D-AFCB-12FF43B05F3C}"/>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598DE614-BE92-7773-D42B-7B7F203DDCE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2885447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  008 : empty">
    <p:spTree>
      <p:nvGrpSpPr>
        <p:cNvPr id="1" name=""/>
        <p:cNvGrpSpPr/>
        <p:nvPr/>
      </p:nvGrpSpPr>
      <p:grpSpPr>
        <a:xfrm>
          <a:off x="0" y="0"/>
          <a:ext cx="0" cy="0"/>
          <a:chOff x="0" y="0"/>
          <a:chExt cx="0" cy="0"/>
        </a:xfrm>
      </p:grpSpPr>
      <p:sp>
        <p:nvSpPr>
          <p:cNvPr id="5" name="slide number">
            <a:extLst>
              <a:ext uri="{FF2B5EF4-FFF2-40B4-BE49-F238E27FC236}">
                <a16:creationId xmlns:a16="http://schemas.microsoft.com/office/drawing/2014/main" id="{A17B63CE-D09A-A5B2-92DE-97357DEAC288}"/>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8" name="footer">
            <a:extLst>
              <a:ext uri="{FF2B5EF4-FFF2-40B4-BE49-F238E27FC236}">
                <a16:creationId xmlns:a16="http://schemas.microsoft.com/office/drawing/2014/main" id="{264ABE22-2F6A-7F37-B086-AE7A106AEB41}"/>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9" name="date">
            <a:extLst>
              <a:ext uri="{FF2B5EF4-FFF2-40B4-BE49-F238E27FC236}">
                <a16:creationId xmlns:a16="http://schemas.microsoft.com/office/drawing/2014/main" id="{7E501AC6-15A5-DC2E-289E-6EB6F31C9B52}"/>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Tree>
    <p:extLst>
      <p:ext uri="{BB962C8B-B14F-4D97-AF65-F5344CB8AC3E}">
        <p14:creationId xmlns:p14="http://schemas.microsoft.com/office/powerpoint/2010/main" val="26235915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   009 : video full size">
    <p:spTree>
      <p:nvGrpSpPr>
        <p:cNvPr id="1" name=""/>
        <p:cNvGrpSpPr/>
        <p:nvPr/>
      </p:nvGrpSpPr>
      <p:grpSpPr>
        <a:xfrm>
          <a:off x="0" y="0"/>
          <a:ext cx="0" cy="0"/>
          <a:chOff x="0" y="0"/>
          <a:chExt cx="0" cy="0"/>
        </a:xfrm>
      </p:grpSpPr>
      <p:sp>
        <p:nvSpPr>
          <p:cNvPr id="3" name="film">
            <a:extLst>
              <a:ext uri="{FF2B5EF4-FFF2-40B4-BE49-F238E27FC236}">
                <a16:creationId xmlns:a16="http://schemas.microsoft.com/office/drawing/2014/main" id="{0833981F-AEE0-01D6-B2C9-2F71CD5FE813}"/>
              </a:ext>
            </a:extLst>
          </p:cNvPr>
          <p:cNvSpPr>
            <a:spLocks noGrp="1"/>
          </p:cNvSpPr>
          <p:nvPr>
            <p:ph type="media" sz="quarter" idx="26"/>
          </p:nvPr>
        </p:nvSpPr>
        <p:spPr>
          <a:xfrm>
            <a:off x="0" y="0"/>
            <a:ext cx="12204000" cy="6858000"/>
          </a:xfrm>
        </p:spPr>
        <p:txBody>
          <a:bodyPr/>
          <a:lstStyle/>
          <a:p>
            <a:r>
              <a:rPr lang="de-DE"/>
              <a:t>Mediaclip durch Klicken auf Symbol hinzufügen</a:t>
            </a:r>
            <a:endParaRPr lang="en-US"/>
          </a:p>
        </p:txBody>
      </p:sp>
      <p:sp>
        <p:nvSpPr>
          <p:cNvPr id="5" name="title">
            <a:extLst>
              <a:ext uri="{FF2B5EF4-FFF2-40B4-BE49-F238E27FC236}">
                <a16:creationId xmlns:a16="http://schemas.microsoft.com/office/drawing/2014/main" id="{73EA888E-C1BB-D71B-E0FC-835A13A60D7F}"/>
              </a:ext>
            </a:extLst>
          </p:cNvPr>
          <p:cNvSpPr>
            <a:spLocks noGrp="1"/>
          </p:cNvSpPr>
          <p:nvPr>
            <p:ph type="title"/>
          </p:nvPr>
        </p:nvSpPr>
        <p:spPr>
          <a:xfrm>
            <a:off x="540000" y="3960000"/>
            <a:ext cx="11088000" cy="2196000"/>
          </a:xfrm>
        </p:spPr>
        <p:txBody>
          <a:bodyPr vert="horz" lIns="0" tIns="0" rIns="0" bIns="0" rtlCol="0" anchor="t">
            <a:noAutofit/>
          </a:bodyPr>
          <a:lstStyle>
            <a:lvl1pPr>
              <a:defRPr lang="en-US" sz="2400" dirty="0"/>
            </a:lvl1pPr>
          </a:lstStyle>
          <a:p>
            <a:pPr lvl="0">
              <a:lnSpc>
                <a:spcPct val="100000"/>
              </a:lnSpc>
            </a:pPr>
            <a:r>
              <a:rPr lang="de-DE"/>
              <a:t>Mastertitelformat bearbeiten</a:t>
            </a:r>
            <a:endParaRPr lang="en-US" dirty="0"/>
          </a:p>
        </p:txBody>
      </p:sp>
    </p:spTree>
    <p:extLst>
      <p:ext uri="{BB962C8B-B14F-4D97-AF65-F5344CB8AC3E}">
        <p14:creationId xmlns:p14="http://schemas.microsoft.com/office/powerpoint/2010/main" val="14135988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  010 : content : picture right 17cm">
    <p:spTree>
      <p:nvGrpSpPr>
        <p:cNvPr id="1" name=""/>
        <p:cNvGrpSpPr/>
        <p:nvPr/>
      </p:nvGrpSpPr>
      <p:grpSpPr>
        <a:xfrm>
          <a:off x="0" y="0"/>
          <a:ext cx="0" cy="0"/>
          <a:chOff x="0" y="0"/>
          <a:chExt cx="0" cy="0"/>
        </a:xfrm>
      </p:grpSpPr>
      <p:sp>
        <p:nvSpPr>
          <p:cNvPr id="3" name="picture right">
            <a:extLst>
              <a:ext uri="{FF2B5EF4-FFF2-40B4-BE49-F238E27FC236}">
                <a16:creationId xmlns:a16="http://schemas.microsoft.com/office/drawing/2014/main" id="{4EC65E8B-7999-AF44-0508-B3DDFC095615}"/>
              </a:ext>
            </a:extLst>
          </p:cNvPr>
          <p:cNvSpPr>
            <a:spLocks noGrp="1"/>
          </p:cNvSpPr>
          <p:nvPr>
            <p:ph type="pic" sz="quarter" idx="19"/>
          </p:nvPr>
        </p:nvSpPr>
        <p:spPr>
          <a:xfrm>
            <a:off x="6120000" y="0"/>
            <a:ext cx="6120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89" name="slide number">
            <a:extLst>
              <a:ext uri="{FF2B5EF4-FFF2-40B4-BE49-F238E27FC236}">
                <a16:creationId xmlns:a16="http://schemas.microsoft.com/office/drawing/2014/main" id="{4A9A79FA-B946-DC94-8CD4-F9781F90A0D7}"/>
              </a:ext>
            </a:extLst>
          </p:cNvPr>
          <p:cNvSpPr>
            <a:spLocks noGrp="1"/>
          </p:cNvSpPr>
          <p:nvPr>
            <p:ph type="sldNum" sz="quarter" idx="12"/>
          </p:nvPr>
        </p:nvSpPr>
        <p:spPr>
          <a:xfrm>
            <a:off x="11353138" y="6379200"/>
            <a:ext cx="288000" cy="180000"/>
          </a:xfrm>
        </p:spPr>
        <p:txBody>
          <a:bodyPr/>
          <a:lstStyle/>
          <a:p>
            <a:fld id="{3AB0EB1E-25C5-4740-9782-54CCC0C83B03}" type="slidenum">
              <a:rPr lang="en-US" smtClean="0"/>
              <a:t>‹Nr.›</a:t>
            </a:fld>
            <a:endParaRPr lang="en-US" dirty="0"/>
          </a:p>
        </p:txBody>
      </p:sp>
      <p:sp>
        <p:nvSpPr>
          <p:cNvPr id="90" name="footer">
            <a:extLst>
              <a:ext uri="{FF2B5EF4-FFF2-40B4-BE49-F238E27FC236}">
                <a16:creationId xmlns:a16="http://schemas.microsoft.com/office/drawing/2014/main" id="{CF6B3373-7C3F-A77B-C0D2-AC7E92A6E396}"/>
              </a:ext>
            </a:extLst>
          </p:cNvPr>
          <p:cNvSpPr>
            <a:spLocks noGrp="1"/>
          </p:cNvSpPr>
          <p:nvPr>
            <p:ph type="ftr" sz="quarter" idx="11"/>
          </p:nvPr>
        </p:nvSpPr>
        <p:spPr>
          <a:xfrm>
            <a:off x="7270749" y="6379200"/>
            <a:ext cx="4082389" cy="180000"/>
          </a:xfrm>
        </p:spPr>
        <p:txBody>
          <a:bodyPr/>
          <a:lstStyle/>
          <a:p>
            <a:r>
              <a:rPr lang="en-GB"/>
              <a:t>valantic layout samples Route B</a:t>
            </a:r>
            <a:endParaRPr lang="en-US" dirty="0"/>
          </a:p>
        </p:txBody>
      </p:sp>
      <p:sp>
        <p:nvSpPr>
          <p:cNvPr id="91" name="date">
            <a:extLst>
              <a:ext uri="{FF2B5EF4-FFF2-40B4-BE49-F238E27FC236}">
                <a16:creationId xmlns:a16="http://schemas.microsoft.com/office/drawing/2014/main" id="{7D661A03-7125-BDF0-8272-47D38FA50BE6}"/>
              </a:ext>
            </a:extLst>
          </p:cNvPr>
          <p:cNvSpPr>
            <a:spLocks noGrp="1"/>
          </p:cNvSpPr>
          <p:nvPr>
            <p:ph type="dt" sz="half" idx="10"/>
          </p:nvPr>
        </p:nvSpPr>
        <p:spPr>
          <a:xfrm>
            <a:off x="5040000" y="6379200"/>
            <a:ext cx="2160000" cy="180000"/>
          </a:xfrm>
        </p:spPr>
        <p:txBody>
          <a:bodyPr/>
          <a:lstStyle/>
          <a:p>
            <a:r>
              <a:rPr lang="en-US"/>
              <a:t>April 26 2024</a:t>
            </a:r>
            <a:endParaRPr lang="en-US" dirty="0"/>
          </a:p>
        </p:txBody>
      </p:sp>
      <p:sp>
        <p:nvSpPr>
          <p:cNvPr id="2" name="content">
            <a:extLst>
              <a:ext uri="{FF2B5EF4-FFF2-40B4-BE49-F238E27FC236}">
                <a16:creationId xmlns:a16="http://schemas.microsoft.com/office/drawing/2014/main" id="{705F9221-2C7B-794A-1A1F-B66C5F3FDC57}"/>
              </a:ext>
            </a:extLst>
          </p:cNvPr>
          <p:cNvSpPr>
            <a:spLocks noGrp="1"/>
          </p:cNvSpPr>
          <p:nvPr>
            <p:ph sz="quarter" idx="15"/>
          </p:nvPr>
        </p:nvSpPr>
        <p:spPr>
          <a:xfrm>
            <a:off x="539998" y="2628000"/>
            <a:ext cx="5040000" cy="3528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6" name="title">
            <a:extLst>
              <a:ext uri="{FF2B5EF4-FFF2-40B4-BE49-F238E27FC236}">
                <a16:creationId xmlns:a16="http://schemas.microsoft.com/office/drawing/2014/main" id="{342B1C18-F605-0005-B448-E48E1BADD677}"/>
              </a:ext>
            </a:extLst>
          </p:cNvPr>
          <p:cNvSpPr>
            <a:spLocks noGrp="1"/>
          </p:cNvSpPr>
          <p:nvPr>
            <p:ph type="title"/>
          </p:nvPr>
        </p:nvSpPr>
        <p:spPr>
          <a:xfrm>
            <a:off x="540000" y="622301"/>
            <a:ext cx="5400000" cy="648000"/>
          </a:xfrm>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2BCA0C52-1240-1F0B-D3D8-154CFEAF412B}"/>
              </a:ext>
            </a:extLst>
          </p:cNvPr>
          <p:cNvSpPr>
            <a:spLocks noGrp="1"/>
          </p:cNvSpPr>
          <p:nvPr>
            <p:ph type="body" sz="quarter" idx="14"/>
          </p:nvPr>
        </p:nvSpPr>
        <p:spPr>
          <a:xfrm>
            <a:off x="576000" y="396000"/>
            <a:ext cx="5364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70586302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  011 : content : picture right 11cm">
    <p:spTree>
      <p:nvGrpSpPr>
        <p:cNvPr id="1" name=""/>
        <p:cNvGrpSpPr/>
        <p:nvPr/>
      </p:nvGrpSpPr>
      <p:grpSpPr>
        <a:xfrm>
          <a:off x="0" y="0"/>
          <a:ext cx="0" cy="0"/>
          <a:chOff x="0" y="0"/>
          <a:chExt cx="0" cy="0"/>
        </a:xfrm>
      </p:grpSpPr>
      <p:sp>
        <p:nvSpPr>
          <p:cNvPr id="3" name="picture right 11cm">
            <a:extLst>
              <a:ext uri="{FF2B5EF4-FFF2-40B4-BE49-F238E27FC236}">
                <a16:creationId xmlns:a16="http://schemas.microsoft.com/office/drawing/2014/main" id="{BA5DD37E-79B5-4F36-AAD5-9CFEC62428E4}"/>
              </a:ext>
            </a:extLst>
          </p:cNvPr>
          <p:cNvSpPr>
            <a:spLocks noGrp="1"/>
          </p:cNvSpPr>
          <p:nvPr>
            <p:ph type="pic" sz="quarter" idx="10"/>
          </p:nvPr>
        </p:nvSpPr>
        <p:spPr>
          <a:xfrm>
            <a:off x="8244000" y="0"/>
            <a:ext cx="3960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539999" y="2628000"/>
            <a:ext cx="7200000" cy="3528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7200000" cy="648000"/>
          </a:xfrm>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B5DB48FB-A4EC-78AE-12A2-F3231AD8231F}"/>
              </a:ext>
            </a:extLst>
          </p:cNvPr>
          <p:cNvSpPr>
            <a:spLocks noGrp="1"/>
          </p:cNvSpPr>
          <p:nvPr>
            <p:ph type="body" sz="quarter" idx="14"/>
          </p:nvPr>
        </p:nvSpPr>
        <p:spPr>
          <a:xfrm>
            <a:off x="576000" y="396000"/>
            <a:ext cx="720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1186860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   012 : 4 rows Icons : picture right 11cm">
    <p:spTree>
      <p:nvGrpSpPr>
        <p:cNvPr id="1" name=""/>
        <p:cNvGrpSpPr/>
        <p:nvPr/>
      </p:nvGrpSpPr>
      <p:grpSpPr>
        <a:xfrm>
          <a:off x="0" y="0"/>
          <a:ext cx="0" cy="0"/>
          <a:chOff x="0" y="0"/>
          <a:chExt cx="0" cy="0"/>
        </a:xfrm>
      </p:grpSpPr>
      <p:sp>
        <p:nvSpPr>
          <p:cNvPr id="3" name="picture right 11cm">
            <a:extLst>
              <a:ext uri="{FF2B5EF4-FFF2-40B4-BE49-F238E27FC236}">
                <a16:creationId xmlns:a16="http://schemas.microsoft.com/office/drawing/2014/main" id="{88020849-41A9-AE9F-6BFC-C5EFB01C1A2D}"/>
              </a:ext>
            </a:extLst>
          </p:cNvPr>
          <p:cNvSpPr>
            <a:spLocks noGrp="1"/>
          </p:cNvSpPr>
          <p:nvPr>
            <p:ph type="pic" sz="quarter" idx="10"/>
          </p:nvPr>
        </p:nvSpPr>
        <p:spPr>
          <a:xfrm>
            <a:off x="8244000" y="0"/>
            <a:ext cx="3960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GB" smtClean="0"/>
              <a:pPr/>
              <a:t>‹Nr.›</a:t>
            </a:fld>
            <a:endParaRPr lang="en-GB" dirty="0"/>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1"/>
                </a:solidFill>
              </a:defRPr>
            </a:lvl1pPr>
          </a:lstStyle>
          <a:p>
            <a:r>
              <a:rPr lang="en-GB"/>
              <a:t>valantic layout samples Route B</a:t>
            </a:r>
            <a:endParaRPr lang="nl-NL" dirty="0"/>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38" name="picture 4">
            <a:extLst>
              <a:ext uri="{FF2B5EF4-FFF2-40B4-BE49-F238E27FC236}">
                <a16:creationId xmlns:a16="http://schemas.microsoft.com/office/drawing/2014/main" id="{3969FD43-10D8-53B3-1466-FA8F47748BED}"/>
              </a:ext>
            </a:extLst>
          </p:cNvPr>
          <p:cNvSpPr>
            <a:spLocks noGrp="1"/>
          </p:cNvSpPr>
          <p:nvPr>
            <p:ph type="pic" sz="quarter" idx="40"/>
          </p:nvPr>
        </p:nvSpPr>
        <p:spPr>
          <a:xfrm>
            <a:off x="2045237" y="4833000"/>
            <a:ext cx="5184000" cy="648000"/>
          </a:xfrm>
          <a:prstGeom prst="roundRect">
            <a:avLst>
              <a:gd name="adj" fmla="val 50000"/>
            </a:avLst>
          </a:prstGeom>
          <a:solidFill>
            <a:schemeClr val="bg1"/>
          </a:solidFill>
          <a:effectLst>
            <a:outerShdw blurRad="63500" algn="ctr" rotWithShape="0">
              <a:schemeClr val="accent4">
                <a:alpha val="50000"/>
              </a:schemeClr>
            </a:outerShdw>
          </a:effectLst>
        </p:spPr>
        <p:txBody>
          <a:bodyPr lIns="720000" anchor="ctr"/>
          <a:lstStyle>
            <a:lvl1pPr>
              <a:defRPr/>
            </a:lvl1pPr>
          </a:lstStyle>
          <a:p>
            <a:r>
              <a:rPr lang="de-DE"/>
              <a:t>Bild durch Klicken auf Symbol hinzufügen</a:t>
            </a:r>
            <a:endParaRPr lang="en-US"/>
          </a:p>
        </p:txBody>
      </p:sp>
      <p:sp>
        <p:nvSpPr>
          <p:cNvPr id="52" name="icon 4">
            <a:extLst>
              <a:ext uri="{FF2B5EF4-FFF2-40B4-BE49-F238E27FC236}">
                <a16:creationId xmlns:a16="http://schemas.microsoft.com/office/drawing/2014/main" id="{9A51D476-71BB-18C0-EA44-3E9619A76B96}"/>
              </a:ext>
            </a:extLst>
          </p:cNvPr>
          <p:cNvSpPr>
            <a:spLocks noGrp="1"/>
          </p:cNvSpPr>
          <p:nvPr>
            <p:ph sz="quarter" idx="28"/>
          </p:nvPr>
        </p:nvSpPr>
        <p:spPr>
          <a:xfrm>
            <a:off x="2158306" y="4941000"/>
            <a:ext cx="432000" cy="432000"/>
          </a:xfrm>
          <a:prstGeom prst="ellipse">
            <a:avLst/>
          </a:prstGeom>
        </p:spPr>
        <p:txBody>
          <a:bodyPr wrap="none" anchor="ctr" anchorCtr="1"/>
          <a:lstStyle>
            <a:lvl1pPr>
              <a:defRPr>
                <a:solidFill>
                  <a:schemeClr val="accent1"/>
                </a:solidFill>
              </a:defRPr>
            </a:lvl1pPr>
          </a:lstStyle>
          <a:p>
            <a:pPr lvl="0"/>
            <a:r>
              <a:rPr lang="de-DE"/>
              <a:t>Mastertextformat bearbeiten</a:t>
            </a:r>
          </a:p>
        </p:txBody>
      </p:sp>
      <p:sp>
        <p:nvSpPr>
          <p:cNvPr id="36" name="picture 3">
            <a:extLst>
              <a:ext uri="{FF2B5EF4-FFF2-40B4-BE49-F238E27FC236}">
                <a16:creationId xmlns:a16="http://schemas.microsoft.com/office/drawing/2014/main" id="{90E038E2-5AF3-9C5E-C76E-839FDE837EAE}"/>
              </a:ext>
            </a:extLst>
          </p:cNvPr>
          <p:cNvSpPr>
            <a:spLocks noGrp="1"/>
          </p:cNvSpPr>
          <p:nvPr>
            <p:ph type="pic" sz="quarter" idx="38"/>
          </p:nvPr>
        </p:nvSpPr>
        <p:spPr>
          <a:xfrm>
            <a:off x="1510906" y="4013616"/>
            <a:ext cx="5184000" cy="648000"/>
          </a:xfrm>
          <a:prstGeom prst="roundRect">
            <a:avLst>
              <a:gd name="adj" fmla="val 50000"/>
            </a:avLst>
          </a:prstGeom>
          <a:solidFill>
            <a:schemeClr val="bg1"/>
          </a:solidFill>
          <a:effectLst>
            <a:outerShdw blurRad="63500" algn="ctr" rotWithShape="0">
              <a:schemeClr val="accent4">
                <a:alpha val="50000"/>
              </a:schemeClr>
            </a:outerShdw>
          </a:effectLst>
        </p:spPr>
        <p:txBody>
          <a:bodyPr lIns="720000" anchor="ctr"/>
          <a:lstStyle>
            <a:lvl1pPr>
              <a:defRPr/>
            </a:lvl1pPr>
          </a:lstStyle>
          <a:p>
            <a:r>
              <a:rPr lang="de-DE"/>
              <a:t>Bild durch Klicken auf Symbol hinzufügen</a:t>
            </a:r>
            <a:endParaRPr lang="en-US"/>
          </a:p>
        </p:txBody>
      </p:sp>
      <p:sp>
        <p:nvSpPr>
          <p:cNvPr id="53" name="icon 3">
            <a:extLst>
              <a:ext uri="{FF2B5EF4-FFF2-40B4-BE49-F238E27FC236}">
                <a16:creationId xmlns:a16="http://schemas.microsoft.com/office/drawing/2014/main" id="{E3FBBF55-D03C-4130-4790-064E0EA09308}"/>
              </a:ext>
            </a:extLst>
          </p:cNvPr>
          <p:cNvSpPr>
            <a:spLocks noGrp="1"/>
          </p:cNvSpPr>
          <p:nvPr>
            <p:ph sz="quarter" idx="30"/>
          </p:nvPr>
        </p:nvSpPr>
        <p:spPr>
          <a:xfrm>
            <a:off x="1617812" y="4121616"/>
            <a:ext cx="432000" cy="432000"/>
          </a:xfrm>
          <a:prstGeom prst="ellipse">
            <a:avLst/>
          </a:prstGeom>
        </p:spPr>
        <p:txBody>
          <a:bodyPr wrap="none" anchor="ctr" anchorCtr="1"/>
          <a:lstStyle>
            <a:lvl1pPr>
              <a:defRPr>
                <a:solidFill>
                  <a:schemeClr val="accent1"/>
                </a:solidFill>
              </a:defRPr>
            </a:lvl1pPr>
          </a:lstStyle>
          <a:p>
            <a:pPr lvl="0"/>
            <a:r>
              <a:rPr lang="de-DE"/>
              <a:t>Mastertextformat bearbeiten</a:t>
            </a:r>
          </a:p>
        </p:txBody>
      </p:sp>
      <p:sp>
        <p:nvSpPr>
          <p:cNvPr id="31" name="picture 2">
            <a:extLst>
              <a:ext uri="{FF2B5EF4-FFF2-40B4-BE49-F238E27FC236}">
                <a16:creationId xmlns:a16="http://schemas.microsoft.com/office/drawing/2014/main" id="{D81C2E44-5F3A-5EBA-F642-D6E338329D94}"/>
              </a:ext>
            </a:extLst>
          </p:cNvPr>
          <p:cNvSpPr>
            <a:spLocks noGrp="1"/>
          </p:cNvSpPr>
          <p:nvPr>
            <p:ph type="pic" sz="quarter" idx="36"/>
          </p:nvPr>
        </p:nvSpPr>
        <p:spPr>
          <a:xfrm>
            <a:off x="978675" y="3194232"/>
            <a:ext cx="5184000" cy="648000"/>
          </a:xfrm>
          <a:prstGeom prst="roundRect">
            <a:avLst>
              <a:gd name="adj" fmla="val 50000"/>
            </a:avLst>
          </a:prstGeom>
          <a:solidFill>
            <a:schemeClr val="bg1"/>
          </a:solidFill>
          <a:effectLst>
            <a:outerShdw blurRad="63500" algn="ctr" rotWithShape="0">
              <a:schemeClr val="accent4">
                <a:alpha val="50000"/>
              </a:schemeClr>
            </a:outerShdw>
          </a:effectLst>
        </p:spPr>
        <p:txBody>
          <a:bodyPr lIns="720000" anchor="ctr"/>
          <a:lstStyle>
            <a:lvl1pPr>
              <a:defRPr/>
            </a:lvl1pPr>
          </a:lstStyle>
          <a:p>
            <a:r>
              <a:rPr lang="de-DE"/>
              <a:t>Bild durch Klicken auf Symbol hinzufügen</a:t>
            </a:r>
            <a:endParaRPr lang="en-US"/>
          </a:p>
        </p:txBody>
      </p:sp>
      <p:sp>
        <p:nvSpPr>
          <p:cNvPr id="54" name="icon 2">
            <a:extLst>
              <a:ext uri="{FF2B5EF4-FFF2-40B4-BE49-F238E27FC236}">
                <a16:creationId xmlns:a16="http://schemas.microsoft.com/office/drawing/2014/main" id="{BC3C9CE3-6A11-0F0F-342A-19C30DB11451}"/>
              </a:ext>
            </a:extLst>
          </p:cNvPr>
          <p:cNvSpPr>
            <a:spLocks noGrp="1"/>
          </p:cNvSpPr>
          <p:nvPr>
            <p:ph sz="quarter" idx="32"/>
          </p:nvPr>
        </p:nvSpPr>
        <p:spPr>
          <a:xfrm>
            <a:off x="1078906" y="3302232"/>
            <a:ext cx="432000" cy="432000"/>
          </a:xfrm>
          <a:prstGeom prst="ellipse">
            <a:avLst/>
          </a:prstGeom>
        </p:spPr>
        <p:txBody>
          <a:bodyPr wrap="none" anchor="ctr" anchorCtr="1"/>
          <a:lstStyle>
            <a:lvl1pPr>
              <a:defRPr>
                <a:solidFill>
                  <a:schemeClr val="accent1"/>
                </a:solidFill>
              </a:defRPr>
            </a:lvl1pPr>
          </a:lstStyle>
          <a:p>
            <a:pPr lvl="0"/>
            <a:r>
              <a:rPr lang="de-DE"/>
              <a:t>Mastertextformat bearbeiten</a:t>
            </a:r>
          </a:p>
        </p:txBody>
      </p:sp>
      <p:sp>
        <p:nvSpPr>
          <p:cNvPr id="5" name="picture 1">
            <a:extLst>
              <a:ext uri="{FF2B5EF4-FFF2-40B4-BE49-F238E27FC236}">
                <a16:creationId xmlns:a16="http://schemas.microsoft.com/office/drawing/2014/main" id="{9CB66747-F806-9B94-6C73-4C5AFB445F96}"/>
              </a:ext>
            </a:extLst>
          </p:cNvPr>
          <p:cNvSpPr>
            <a:spLocks noGrp="1"/>
          </p:cNvSpPr>
          <p:nvPr>
            <p:ph type="pic" sz="quarter" idx="35"/>
          </p:nvPr>
        </p:nvSpPr>
        <p:spPr>
          <a:xfrm>
            <a:off x="540000" y="2374848"/>
            <a:ext cx="5184000" cy="648000"/>
          </a:xfrm>
          <a:prstGeom prst="roundRect">
            <a:avLst>
              <a:gd name="adj" fmla="val 50000"/>
            </a:avLst>
          </a:prstGeom>
          <a:solidFill>
            <a:schemeClr val="bg1"/>
          </a:solidFill>
          <a:effectLst>
            <a:outerShdw blurRad="63500" algn="ctr" rotWithShape="0">
              <a:schemeClr val="accent4">
                <a:alpha val="50000"/>
              </a:schemeClr>
            </a:outerShdw>
          </a:effectLst>
        </p:spPr>
        <p:txBody>
          <a:bodyPr lIns="720000" anchor="ctr"/>
          <a:lstStyle>
            <a:lvl1pPr>
              <a:defRPr/>
            </a:lvl1pPr>
          </a:lstStyle>
          <a:p>
            <a:r>
              <a:rPr lang="de-DE"/>
              <a:t>Bild durch Klicken auf Symbol hinzufügen</a:t>
            </a:r>
            <a:endParaRPr lang="en-US"/>
          </a:p>
        </p:txBody>
      </p:sp>
      <p:sp>
        <p:nvSpPr>
          <p:cNvPr id="55" name="icon 1">
            <a:extLst>
              <a:ext uri="{FF2B5EF4-FFF2-40B4-BE49-F238E27FC236}">
                <a16:creationId xmlns:a16="http://schemas.microsoft.com/office/drawing/2014/main" id="{60DBDD10-84E1-C678-9327-E9D8B09548E6}"/>
              </a:ext>
            </a:extLst>
          </p:cNvPr>
          <p:cNvSpPr>
            <a:spLocks noGrp="1"/>
          </p:cNvSpPr>
          <p:nvPr>
            <p:ph sz="quarter" idx="34"/>
          </p:nvPr>
        </p:nvSpPr>
        <p:spPr>
          <a:xfrm>
            <a:off x="646906" y="2482848"/>
            <a:ext cx="432000" cy="432000"/>
          </a:xfrm>
          <a:prstGeom prst="ellipse">
            <a:avLst/>
          </a:prstGeom>
        </p:spPr>
        <p:txBody>
          <a:bodyPr wrap="none" anchor="ctr" anchorCtr="1"/>
          <a:lstStyle>
            <a:lvl1pPr>
              <a:defRPr>
                <a:solidFill>
                  <a:schemeClr val="accent1"/>
                </a:solidFill>
              </a:defRPr>
            </a:lvl1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7200000" cy="648000"/>
          </a:xfrm>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4871BBE7-625C-CDD4-5985-F918ED91B1CF}"/>
              </a:ext>
            </a:extLst>
          </p:cNvPr>
          <p:cNvSpPr>
            <a:spLocks noGrp="1"/>
          </p:cNvSpPr>
          <p:nvPr>
            <p:ph type="body" sz="quarter" idx="14"/>
          </p:nvPr>
        </p:nvSpPr>
        <p:spPr>
          <a:xfrm>
            <a:off x="576000" y="396000"/>
            <a:ext cx="720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913881713"/>
      </p:ext>
    </p:extLst>
  </p:cSld>
  <p:clrMapOvr>
    <a:masterClrMapping/>
  </p:clrMapOvr>
  <p:extLst>
    <p:ext uri="{DCECCB84-F9BA-43D5-87BE-67443E8EF086}">
      <p15:sldGuideLst xmlns:p15="http://schemas.microsoft.com/office/powerpoint/2012/main">
        <p15:guide id="1" orient="horz" pos="170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  013 : content : 2 pictures right">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 name="picture below">
            <a:extLst>
              <a:ext uri="{FF2B5EF4-FFF2-40B4-BE49-F238E27FC236}">
                <a16:creationId xmlns:a16="http://schemas.microsoft.com/office/drawing/2014/main" id="{64B5A92D-5A2D-40C8-EC14-0A74FFA0435D}"/>
              </a:ext>
            </a:extLst>
          </p:cNvPr>
          <p:cNvSpPr>
            <a:spLocks noGrp="1"/>
          </p:cNvSpPr>
          <p:nvPr>
            <p:ph type="pic" sz="quarter" idx="16"/>
          </p:nvPr>
        </p:nvSpPr>
        <p:spPr>
          <a:xfrm>
            <a:off x="7464424" y="2636838"/>
            <a:ext cx="4176713" cy="2592387"/>
          </a:xfrm>
          <a:prstGeom prst="roundRect">
            <a:avLst>
              <a:gd name="adj" fmla="val 2626"/>
            </a:avLst>
          </a:prstGeom>
          <a:solidFill>
            <a:schemeClr val="bg1"/>
          </a:solidFill>
          <a:effectLst/>
        </p:spPr>
        <p:txBody>
          <a:bodyPr vert="horz" lIns="0" tIns="0" rIns="0" bIns="0" rtlCol="0">
            <a:noAutofit/>
          </a:bodyPr>
          <a:lstStyle>
            <a:lvl1pPr>
              <a:defRPr lang="en-DE" dirty="0"/>
            </a:lvl1pPr>
          </a:lstStyle>
          <a:p>
            <a:pPr lvl="0"/>
            <a:r>
              <a:rPr lang="de-DE"/>
              <a:t>Bild durch Klicken auf Symbol hinzufügen</a:t>
            </a:r>
            <a:endParaRPr lang="en-DE" dirty="0"/>
          </a:p>
        </p:txBody>
      </p:sp>
      <p:sp>
        <p:nvSpPr>
          <p:cNvPr id="10" name="picture top">
            <a:extLst>
              <a:ext uri="{FF2B5EF4-FFF2-40B4-BE49-F238E27FC236}">
                <a16:creationId xmlns:a16="http://schemas.microsoft.com/office/drawing/2014/main" id="{1B4CD723-14EE-5CF9-C037-07B25FC9BAB7}"/>
              </a:ext>
            </a:extLst>
          </p:cNvPr>
          <p:cNvSpPr>
            <a:spLocks noGrp="1"/>
          </p:cNvSpPr>
          <p:nvPr>
            <p:ph type="pic" sz="quarter" idx="17"/>
          </p:nvPr>
        </p:nvSpPr>
        <p:spPr>
          <a:xfrm>
            <a:off x="5951162" y="-143606"/>
            <a:ext cx="3617045" cy="2635981"/>
          </a:xfrm>
          <a:prstGeom prst="roundRect">
            <a:avLst>
              <a:gd name="adj" fmla="val 2001"/>
            </a:avLst>
          </a:prstGeom>
          <a:solidFill>
            <a:schemeClr val="bg1"/>
          </a:solidFill>
          <a:effectLst/>
        </p:spPr>
        <p:txBody>
          <a:bodyPr vert="horz" lIns="0" tIns="0" rIns="0" bIns="0" rtlCol="0">
            <a:noAutofit/>
          </a:bodyPr>
          <a:lstStyle>
            <a:lvl1pPr>
              <a:defRPr lang="en-DE" dirty="0"/>
            </a:lvl1pPr>
          </a:lstStyle>
          <a:p>
            <a:pPr lvl="0"/>
            <a:r>
              <a:rPr lang="de-DE"/>
              <a:t>Bild durch Klicken auf Symbol hinzufügen</a:t>
            </a:r>
            <a:endParaRPr lang="en-DE" dirty="0"/>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539999" y="2627999"/>
            <a:ext cx="6120000" cy="3528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16" name="title">
            <a:extLst>
              <a:ext uri="{FF2B5EF4-FFF2-40B4-BE49-F238E27FC236}">
                <a16:creationId xmlns:a16="http://schemas.microsoft.com/office/drawing/2014/main" id="{E54BCACE-F7FE-E7F5-8B89-3D95049EA30D}"/>
              </a:ext>
            </a:extLst>
          </p:cNvPr>
          <p:cNvSpPr>
            <a:spLocks noGrp="1"/>
          </p:cNvSpPr>
          <p:nvPr>
            <p:ph type="title"/>
          </p:nvPr>
        </p:nvSpPr>
        <p:spPr>
          <a:xfrm>
            <a:off x="540000" y="622301"/>
            <a:ext cx="5040000" cy="648000"/>
          </a:xfrm>
        </p:spPr>
        <p:txBody>
          <a:bodyPr vert="horz"/>
          <a:lstStyle/>
          <a:p>
            <a:r>
              <a:rPr lang="de-DE"/>
              <a:t>Mastertitelformat bearbeiten</a:t>
            </a:r>
            <a:endParaRPr lang="en-US" dirty="0"/>
          </a:p>
        </p:txBody>
      </p:sp>
      <p:sp>
        <p:nvSpPr>
          <p:cNvPr id="3" name="navigation">
            <a:extLst>
              <a:ext uri="{FF2B5EF4-FFF2-40B4-BE49-F238E27FC236}">
                <a16:creationId xmlns:a16="http://schemas.microsoft.com/office/drawing/2014/main" id="{6A77231E-06C6-10F9-814A-EBF83BBE4C2B}"/>
              </a:ext>
            </a:extLst>
          </p:cNvPr>
          <p:cNvSpPr>
            <a:spLocks noGrp="1"/>
          </p:cNvSpPr>
          <p:nvPr>
            <p:ph type="body" sz="quarter" idx="14"/>
          </p:nvPr>
        </p:nvSpPr>
        <p:spPr>
          <a:xfrm>
            <a:off x="576000" y="396000"/>
            <a:ext cx="504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4035443009"/>
      </p:ext>
    </p:extLst>
  </p:cSld>
  <p:clrMapOvr>
    <a:masterClrMapping/>
  </p:clrMapOvr>
  <p:extLst>
    <p:ext uri="{DCECCB84-F9BA-43D5-87BE-67443E8EF086}">
      <p15:sldGuideLst xmlns:p15="http://schemas.microsoft.com/office/powerpoint/2012/main">
        <p15:guide id="1" pos="3840">
          <p15:clr>
            <a:srgbClr val="FBAE40"/>
          </p15:clr>
        </p15:guide>
        <p15:guide id="2" orient="horz" pos="166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  014 : content : 2 pictures right : color-text-box">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3" name="picture below">
            <a:extLst>
              <a:ext uri="{FF2B5EF4-FFF2-40B4-BE49-F238E27FC236}">
                <a16:creationId xmlns:a16="http://schemas.microsoft.com/office/drawing/2014/main" id="{1D0F5D2A-81FE-3833-2907-78B51B326DF1}"/>
              </a:ext>
            </a:extLst>
          </p:cNvPr>
          <p:cNvSpPr>
            <a:spLocks noGrp="1"/>
          </p:cNvSpPr>
          <p:nvPr>
            <p:ph type="pic" sz="quarter" idx="16"/>
          </p:nvPr>
        </p:nvSpPr>
        <p:spPr>
          <a:xfrm>
            <a:off x="7464424" y="3780000"/>
            <a:ext cx="4176713" cy="2376000"/>
          </a:xfrm>
          <a:prstGeom prst="roundRect">
            <a:avLst>
              <a:gd name="adj" fmla="val 2626"/>
            </a:avLst>
          </a:prstGeom>
          <a:solidFill>
            <a:schemeClr val="bg1"/>
          </a:solidFill>
          <a:effectLst/>
        </p:spPr>
        <p:txBody>
          <a:bodyPr/>
          <a:lstStyle/>
          <a:p>
            <a:r>
              <a:rPr lang="de-DE"/>
              <a:t>Bild durch Klicken auf Symbol hinzufügen</a:t>
            </a:r>
            <a:endParaRPr lang="en-DE" dirty="0"/>
          </a:p>
        </p:txBody>
      </p:sp>
      <p:sp>
        <p:nvSpPr>
          <p:cNvPr id="4" name="picture top">
            <a:extLst>
              <a:ext uri="{FF2B5EF4-FFF2-40B4-BE49-F238E27FC236}">
                <a16:creationId xmlns:a16="http://schemas.microsoft.com/office/drawing/2014/main" id="{9DC2B4CA-1091-CD31-C625-B499A7922DF0}"/>
              </a:ext>
            </a:extLst>
          </p:cNvPr>
          <p:cNvSpPr>
            <a:spLocks noGrp="1"/>
          </p:cNvSpPr>
          <p:nvPr>
            <p:ph type="pic" sz="quarter" idx="17"/>
          </p:nvPr>
        </p:nvSpPr>
        <p:spPr>
          <a:xfrm>
            <a:off x="6120000" y="1476000"/>
            <a:ext cx="2880000" cy="2196000"/>
          </a:xfrm>
          <a:prstGeom prst="roundRect">
            <a:avLst>
              <a:gd name="adj" fmla="val 2001"/>
            </a:avLst>
          </a:prstGeom>
          <a:solidFill>
            <a:schemeClr val="bg1"/>
          </a:solidFill>
          <a:effectLst/>
        </p:spPr>
        <p:txBody>
          <a:bodyPr/>
          <a:lstStyle/>
          <a:p>
            <a:r>
              <a:rPr lang="de-DE"/>
              <a:t>Bild durch Klicken auf Symbol hinzufügen</a:t>
            </a:r>
            <a:endParaRPr lang="en-DE" dirty="0"/>
          </a:p>
        </p:txBody>
      </p:sp>
      <p:sp>
        <p:nvSpPr>
          <p:cNvPr id="15" name="color-text-box">
            <a:extLst>
              <a:ext uri="{FF2B5EF4-FFF2-40B4-BE49-F238E27FC236}">
                <a16:creationId xmlns:a16="http://schemas.microsoft.com/office/drawing/2014/main" id="{6103A93F-ED21-3458-4157-6CA989FA5CA9}"/>
              </a:ext>
            </a:extLst>
          </p:cNvPr>
          <p:cNvSpPr>
            <a:spLocks noGrp="1"/>
          </p:cNvSpPr>
          <p:nvPr>
            <p:ph sz="quarter" idx="19"/>
          </p:nvPr>
        </p:nvSpPr>
        <p:spPr>
          <a:xfrm>
            <a:off x="8791575" y="3218400"/>
            <a:ext cx="2448000" cy="900000"/>
          </a:xfrm>
          <a:prstGeom prst="roundRect">
            <a:avLst>
              <a:gd name="adj" fmla="val 9259"/>
            </a:avLst>
          </a:prstGeom>
          <a:solidFill>
            <a:schemeClr val="accent1"/>
          </a:solidFill>
        </p:spPr>
        <p:txBody>
          <a:bodyPr lIns="108000" tIns="72000" rIns="72000"/>
          <a:lstStyle>
            <a:lvl1pPr>
              <a:defRPr>
                <a:solidFill>
                  <a:schemeClr val="accent4"/>
                </a:solidFill>
                <a:latin typeface="+mj-lt"/>
              </a:defRPr>
            </a:lvl1pPr>
            <a:lvl2pPr>
              <a:defRPr>
                <a:solidFill>
                  <a:schemeClr val="accent4"/>
                </a:solidFill>
                <a:latin typeface="+mj-lt"/>
              </a:defRPr>
            </a:lvl2pPr>
            <a:lvl3pPr>
              <a:defRPr>
                <a:solidFill>
                  <a:schemeClr val="accent4"/>
                </a:solidFill>
                <a:latin typeface="+mj-lt"/>
              </a:defRPr>
            </a:lvl3pPr>
            <a:lvl4pPr>
              <a:defRPr>
                <a:solidFill>
                  <a:schemeClr val="accent4"/>
                </a:solidFill>
                <a:latin typeface="+mj-lt"/>
              </a:defRPr>
            </a:lvl4pPr>
            <a:lvl5pPr>
              <a:defRPr>
                <a:solidFill>
                  <a:schemeClr val="accent4"/>
                </a:solidFill>
                <a:latin typeface="+mj-lt"/>
              </a:defRPr>
            </a:lvl5pPr>
          </a:lstStyle>
          <a:p>
            <a:pPr lvl="0"/>
            <a:r>
              <a:rPr lang="de-DE"/>
              <a:t>Mastertextformat bearbeiten</a:t>
            </a:r>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539999" y="2627999"/>
            <a:ext cx="5544000" cy="3528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16" name="title">
            <a:extLst>
              <a:ext uri="{FF2B5EF4-FFF2-40B4-BE49-F238E27FC236}">
                <a16:creationId xmlns:a16="http://schemas.microsoft.com/office/drawing/2014/main" id="{E54BCACE-F7FE-E7F5-8B89-3D95049EA30D}"/>
              </a:ext>
            </a:extLst>
          </p:cNvPr>
          <p:cNvSpPr>
            <a:spLocks noGrp="1"/>
          </p:cNvSpPr>
          <p:nvPr>
            <p:ph type="title"/>
          </p:nvPr>
        </p:nvSpPr>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D8BCFDF7-1D5B-8DAC-DC2F-D54BF2A365BB}"/>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829218709"/>
      </p:ext>
    </p:extLst>
  </p:cSld>
  <p:clrMapOvr>
    <a:masterClrMapping/>
  </p:clrMapOvr>
  <p:extLst>
    <p:ext uri="{DCECCB84-F9BA-43D5-87BE-67443E8EF086}">
      <p15:sldGuideLst xmlns:p15="http://schemas.microsoft.com/office/powerpoint/2012/main">
        <p15:guide id="1" pos="3840">
          <p15:clr>
            <a:srgbClr val="FBAE40"/>
          </p15:clr>
        </p15:guide>
        <p15:guide id="2" orient="horz" pos="166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  015 : 2 contents : picture right">
    <p:spTree>
      <p:nvGrpSpPr>
        <p:cNvPr id="1" name=""/>
        <p:cNvGrpSpPr/>
        <p:nvPr/>
      </p:nvGrpSpPr>
      <p:grpSpPr>
        <a:xfrm>
          <a:off x="0" y="0"/>
          <a:ext cx="0" cy="0"/>
          <a:chOff x="0" y="0"/>
          <a:chExt cx="0" cy="0"/>
        </a:xfrm>
      </p:grpSpPr>
      <p:sp>
        <p:nvSpPr>
          <p:cNvPr id="5" name="picture right 11cm">
            <a:extLst>
              <a:ext uri="{FF2B5EF4-FFF2-40B4-BE49-F238E27FC236}">
                <a16:creationId xmlns:a16="http://schemas.microsoft.com/office/drawing/2014/main" id="{5CD7E801-2CA0-914E-7C58-8A9BA829F629}"/>
              </a:ext>
            </a:extLst>
          </p:cNvPr>
          <p:cNvSpPr>
            <a:spLocks noGrp="1"/>
          </p:cNvSpPr>
          <p:nvPr>
            <p:ph type="pic" sz="quarter" idx="10"/>
          </p:nvPr>
        </p:nvSpPr>
        <p:spPr>
          <a:xfrm>
            <a:off x="8244000" y="0"/>
            <a:ext cx="3960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3" name="content right">
            <a:extLst>
              <a:ext uri="{FF2B5EF4-FFF2-40B4-BE49-F238E27FC236}">
                <a16:creationId xmlns:a16="http://schemas.microsoft.com/office/drawing/2014/main" id="{A01F8A8C-5D5A-9E22-C97F-06DCBAFD5630}"/>
              </a:ext>
            </a:extLst>
          </p:cNvPr>
          <p:cNvSpPr>
            <a:spLocks noGrp="1"/>
          </p:cNvSpPr>
          <p:nvPr>
            <p:ph sz="quarter" idx="16"/>
          </p:nvPr>
        </p:nvSpPr>
        <p:spPr>
          <a:xfrm>
            <a:off x="4140000" y="2628000"/>
            <a:ext cx="3600000" cy="352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4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p:txBody>
      </p:sp>
      <p:sp>
        <p:nvSpPr>
          <p:cNvPr id="14" name="content left">
            <a:extLst>
              <a:ext uri="{FF2B5EF4-FFF2-40B4-BE49-F238E27FC236}">
                <a16:creationId xmlns:a16="http://schemas.microsoft.com/office/drawing/2014/main" id="{438C11ED-D1E2-4D8E-7E92-53DCAC4E4BB0}"/>
              </a:ext>
            </a:extLst>
          </p:cNvPr>
          <p:cNvSpPr>
            <a:spLocks noGrp="1"/>
          </p:cNvSpPr>
          <p:nvPr>
            <p:ph sz="quarter" idx="15"/>
          </p:nvPr>
        </p:nvSpPr>
        <p:spPr>
          <a:xfrm>
            <a:off x="539999" y="2628000"/>
            <a:ext cx="3600000" cy="352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4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p:txBody>
      </p:sp>
      <p:sp>
        <p:nvSpPr>
          <p:cNvPr id="4" name="content top">
            <a:extLst>
              <a:ext uri="{FF2B5EF4-FFF2-40B4-BE49-F238E27FC236}">
                <a16:creationId xmlns:a16="http://schemas.microsoft.com/office/drawing/2014/main" id="{EDF317B4-5023-FCA5-FC22-BCF91AB4C3C4}"/>
              </a:ext>
            </a:extLst>
          </p:cNvPr>
          <p:cNvSpPr>
            <a:spLocks noGrp="1"/>
          </p:cNvSpPr>
          <p:nvPr>
            <p:ph sz="quarter" idx="17"/>
          </p:nvPr>
        </p:nvSpPr>
        <p:spPr>
          <a:xfrm>
            <a:off x="539999" y="1484313"/>
            <a:ext cx="7200000" cy="100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4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7200000" cy="648000"/>
          </a:xfrm>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7FDF0AB8-4A72-DBED-E3BA-57CD35D7F5DF}"/>
              </a:ext>
            </a:extLst>
          </p:cNvPr>
          <p:cNvSpPr>
            <a:spLocks noGrp="1"/>
          </p:cNvSpPr>
          <p:nvPr>
            <p:ph type="body" sz="quarter" idx="14"/>
          </p:nvPr>
        </p:nvSpPr>
        <p:spPr>
          <a:xfrm>
            <a:off x="576000" y="396000"/>
            <a:ext cx="720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05996604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  001 : BASIC title and content">
    <p:spTree>
      <p:nvGrpSpPr>
        <p:cNvPr id="1" name=""/>
        <p:cNvGrpSpPr/>
        <p:nvPr/>
      </p:nvGrpSpPr>
      <p:grpSpPr>
        <a:xfrm>
          <a:off x="0" y="0"/>
          <a:ext cx="0" cy="0"/>
          <a:chOff x="0" y="0"/>
          <a:chExt cx="0" cy="0"/>
        </a:xfrm>
      </p:grpSpPr>
      <p:sp>
        <p:nvSpPr>
          <p:cNvPr id="8" name="slide number">
            <a:extLst>
              <a:ext uri="{FF2B5EF4-FFF2-40B4-BE49-F238E27FC236}">
                <a16:creationId xmlns:a16="http://schemas.microsoft.com/office/drawing/2014/main" id="{2B8DCA8E-E758-A02D-2104-E01EE369E56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9" name="footer">
            <a:extLst>
              <a:ext uri="{FF2B5EF4-FFF2-40B4-BE49-F238E27FC236}">
                <a16:creationId xmlns:a16="http://schemas.microsoft.com/office/drawing/2014/main" id="{6579E58F-8136-67AD-3280-33201D8696AD}"/>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0" name="date">
            <a:extLst>
              <a:ext uri="{FF2B5EF4-FFF2-40B4-BE49-F238E27FC236}">
                <a16:creationId xmlns:a16="http://schemas.microsoft.com/office/drawing/2014/main" id="{6A0A194C-20EC-8385-1671-2BE66E04C7A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540000" y="1476000"/>
            <a:ext cx="11088000" cy="4680000"/>
          </a:xfrm>
          <a:noFill/>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US" dirty="0" smtClean="0"/>
            </a:lvl6pPr>
            <a:lvl7pPr>
              <a:defRPr lang="en-US" dirty="0" smtClean="0"/>
            </a:lvl7pPr>
            <a:lvl8pPr>
              <a:defRPr lang="en-US" dirty="0" smtClean="0"/>
            </a:lvl8pPr>
            <a:lvl9pPr>
              <a:defRPr lang="en-US"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A2006E74-F413-42A1-5EBE-FFA34D108AD3}"/>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1555404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  015a : picture left : 2 textboxes right">
    <p:spTree>
      <p:nvGrpSpPr>
        <p:cNvPr id="1" name=""/>
        <p:cNvGrpSpPr/>
        <p:nvPr/>
      </p:nvGrpSpPr>
      <p:grpSpPr>
        <a:xfrm>
          <a:off x="0" y="0"/>
          <a:ext cx="0" cy="0"/>
          <a:chOff x="0" y="0"/>
          <a:chExt cx="0" cy="0"/>
        </a:xfrm>
      </p:grpSpPr>
      <p:sp>
        <p:nvSpPr>
          <p:cNvPr id="5" name="picture left 11cm">
            <a:extLst>
              <a:ext uri="{FF2B5EF4-FFF2-40B4-BE49-F238E27FC236}">
                <a16:creationId xmlns:a16="http://schemas.microsoft.com/office/drawing/2014/main" id="{74ED0BBF-0E8C-44D4-921F-066BA5C9B178}"/>
              </a:ext>
            </a:extLst>
          </p:cNvPr>
          <p:cNvSpPr>
            <a:spLocks noGrp="1"/>
          </p:cNvSpPr>
          <p:nvPr>
            <p:ph type="pic" sz="quarter" idx="10"/>
          </p:nvPr>
        </p:nvSpPr>
        <p:spPr>
          <a:xfrm>
            <a:off x="1" y="0"/>
            <a:ext cx="3960000" cy="6858000"/>
          </a:xfrm>
          <a:custGeom>
            <a:avLst/>
            <a:gdLst>
              <a:gd name="connsiteX0" fmla="*/ 0 w 4370389"/>
              <a:gd name="connsiteY0" fmla="*/ 0 h 6858000"/>
              <a:gd name="connsiteX1" fmla="*/ 4370389 w 4370389"/>
              <a:gd name="connsiteY1" fmla="*/ 0 h 6858000"/>
              <a:gd name="connsiteX2" fmla="*/ 4370389 w 4370389"/>
              <a:gd name="connsiteY2" fmla="*/ 6858000 h 6858000"/>
              <a:gd name="connsiteX3" fmla="*/ 0 w 43703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9" h="6858000">
                <a:moveTo>
                  <a:pt x="0" y="0"/>
                </a:moveTo>
                <a:lnTo>
                  <a:pt x="4370389" y="0"/>
                </a:lnTo>
                <a:lnTo>
                  <a:pt x="437038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dirty="0"/>
          </a:p>
        </p:txBody>
      </p:sp>
      <p:sp>
        <p:nvSpPr>
          <p:cNvPr id="8" name="logo placeholder">
            <a:extLst>
              <a:ext uri="{FF2B5EF4-FFF2-40B4-BE49-F238E27FC236}">
                <a16:creationId xmlns:a16="http://schemas.microsoft.com/office/drawing/2014/main" id="{1F75B0BC-6C5A-1CD1-854C-F1D8676D772A}"/>
              </a:ext>
            </a:extLst>
          </p:cNvPr>
          <p:cNvSpPr>
            <a:spLocks noGrp="1"/>
          </p:cNvSpPr>
          <p:nvPr>
            <p:ph type="pic" sz="quarter" idx="24"/>
          </p:nvPr>
        </p:nvSpPr>
        <p:spPr>
          <a:xfrm>
            <a:off x="415887" y="6218848"/>
            <a:ext cx="1169231" cy="450666"/>
          </a:xfrm>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Bild durch Klicken auf Symbol hinzufügen</a:t>
            </a:r>
            <a:endParaRPr lang="en-US" dirty="0"/>
          </a:p>
        </p:txBody>
      </p:sp>
      <p:sp>
        <p:nvSpPr>
          <p:cNvPr id="16" name="slide number">
            <a:extLst>
              <a:ext uri="{FF2B5EF4-FFF2-40B4-BE49-F238E27FC236}">
                <a16:creationId xmlns:a16="http://schemas.microsoft.com/office/drawing/2014/main" id="{BEB57DBE-63B8-E581-3096-F2652E6BC47E}"/>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9" name="footer">
            <a:extLst>
              <a:ext uri="{FF2B5EF4-FFF2-40B4-BE49-F238E27FC236}">
                <a16:creationId xmlns:a16="http://schemas.microsoft.com/office/drawing/2014/main" id="{A0884F85-B37A-46FC-CACB-D048B0C1E020}"/>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20" name="date">
            <a:extLst>
              <a:ext uri="{FF2B5EF4-FFF2-40B4-BE49-F238E27FC236}">
                <a16:creationId xmlns:a16="http://schemas.microsoft.com/office/drawing/2014/main" id="{C36A1B14-05F1-8B1B-20DA-31A9A97A783F}"/>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7" name="text 2">
            <a:extLst>
              <a:ext uri="{FF2B5EF4-FFF2-40B4-BE49-F238E27FC236}">
                <a16:creationId xmlns:a16="http://schemas.microsoft.com/office/drawing/2014/main" id="{CAE3D3F0-664E-ABBC-3640-50F182DB9BED}"/>
              </a:ext>
            </a:extLst>
          </p:cNvPr>
          <p:cNvSpPr>
            <a:spLocks noGrp="1"/>
          </p:cNvSpPr>
          <p:nvPr>
            <p:ph type="body" sz="quarter" idx="21"/>
          </p:nvPr>
        </p:nvSpPr>
        <p:spPr>
          <a:xfrm>
            <a:off x="8113138" y="1475999"/>
            <a:ext cx="3528000" cy="4680000"/>
          </a:xfrm>
          <a:noFill/>
        </p:spPr>
        <p:txBody>
          <a:bodyPr vert="horz" lIns="0" tIns="0" rIns="0" bIns="0" rtlCol="0">
            <a:noAutofit/>
          </a:bodyPr>
          <a:lstStyle>
            <a:lvl1pPr>
              <a:defRPr lang="en-US" sz="1000" smtClean="0"/>
            </a:lvl1pPr>
            <a:lvl2pPr>
              <a:defRPr lang="en-US" sz="1000" smtClean="0"/>
            </a:lvl2pPr>
            <a:lvl3pPr>
              <a:defRPr lang="en-US" sz="1000" smtClean="0"/>
            </a:lvl3pPr>
            <a:lvl4pPr>
              <a:defRPr lang="en-US" sz="1000" smtClean="0"/>
            </a:lvl4pPr>
            <a:lvl5pPr>
              <a:defRPr lang="en-US" sz="1200" smtClean="0"/>
            </a:lvl5pPr>
            <a:lvl6pPr>
              <a:defRPr lang="en-US" sz="1000" smtClean="0"/>
            </a:lvl6pPr>
            <a:lvl7pPr>
              <a:defRPr lang="en-US" sz="1000" smtClean="0"/>
            </a:lvl7pPr>
            <a:lvl8pPr>
              <a:defRPr lang="en-US" sz="1000" smtClean="0"/>
            </a:lvl8pPr>
            <a:lvl9pPr>
              <a:defRPr lang="en-US" sz="1200"/>
            </a:lvl9pPr>
          </a:lstStyle>
          <a:p>
            <a:pPr lvl="0"/>
            <a:r>
              <a:rPr lang="de-DE"/>
              <a:t>Mastertextformat bearbeiten</a:t>
            </a:r>
          </a:p>
        </p:txBody>
      </p:sp>
      <p:sp>
        <p:nvSpPr>
          <p:cNvPr id="9" name="circle 2">
            <a:extLst>
              <a:ext uri="{FF2B5EF4-FFF2-40B4-BE49-F238E27FC236}">
                <a16:creationId xmlns:a16="http://schemas.microsoft.com/office/drawing/2014/main" id="{D6269545-42AA-46E1-9D73-61DDF60EAF88}"/>
              </a:ext>
            </a:extLst>
          </p:cNvPr>
          <p:cNvSpPr>
            <a:spLocks noGrp="1"/>
          </p:cNvSpPr>
          <p:nvPr>
            <p:ph type="body" idx="25" hasCustomPrompt="1"/>
          </p:nvPr>
        </p:nvSpPr>
        <p:spPr>
          <a:xfrm>
            <a:off x="10935381" y="1324614"/>
            <a:ext cx="720000" cy="72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11" name="icon-placeholder 2">
            <a:extLst>
              <a:ext uri="{FF2B5EF4-FFF2-40B4-BE49-F238E27FC236}">
                <a16:creationId xmlns:a16="http://schemas.microsoft.com/office/drawing/2014/main" id="{FE48F49F-7F06-F02A-2F05-39DB2C69ECB5}"/>
              </a:ext>
            </a:extLst>
          </p:cNvPr>
          <p:cNvSpPr>
            <a:spLocks noGrp="1"/>
          </p:cNvSpPr>
          <p:nvPr>
            <p:ph sz="quarter" idx="26"/>
          </p:nvPr>
        </p:nvSpPr>
        <p:spPr>
          <a:xfrm>
            <a:off x="11115381" y="1504614"/>
            <a:ext cx="360000" cy="360000"/>
          </a:xfrm>
          <a:prstGeom prst="rect">
            <a:avLst/>
          </a:prstGeom>
        </p:spPr>
        <p:txBody>
          <a:bodyPr anchor="ctr"/>
          <a:lstStyle>
            <a:lvl1pPr algn="ctr">
              <a:defRPr>
                <a:solidFill>
                  <a:schemeClr val="bg1"/>
                </a:solidFill>
              </a:defRPr>
            </a:lvl1pPr>
          </a:lstStyle>
          <a:p>
            <a:pPr lvl="0"/>
            <a:r>
              <a:rPr lang="de-DE"/>
              <a:t>Mastertextformat bearbeiten</a:t>
            </a:r>
          </a:p>
        </p:txBody>
      </p:sp>
      <p:sp>
        <p:nvSpPr>
          <p:cNvPr id="15" name="text 1">
            <a:extLst>
              <a:ext uri="{FF2B5EF4-FFF2-40B4-BE49-F238E27FC236}">
                <a16:creationId xmlns:a16="http://schemas.microsoft.com/office/drawing/2014/main" id="{0292821D-E361-102A-F29E-3F6CA54EC1E9}"/>
              </a:ext>
            </a:extLst>
          </p:cNvPr>
          <p:cNvSpPr>
            <a:spLocks noGrp="1"/>
          </p:cNvSpPr>
          <p:nvPr>
            <p:ph type="body" sz="quarter" idx="20"/>
          </p:nvPr>
        </p:nvSpPr>
        <p:spPr>
          <a:xfrm>
            <a:off x="4320000" y="1475999"/>
            <a:ext cx="3528000" cy="4680000"/>
          </a:xfrm>
          <a:noFill/>
        </p:spPr>
        <p:txBody>
          <a:bodyPr vert="horz" lIns="0" tIns="0" rIns="0" bIns="0" rtlCol="0">
            <a:noAutofit/>
          </a:bodyPr>
          <a:lstStyle>
            <a:lvl1pPr>
              <a:defRPr lang="en-US" sz="1000" smtClean="0"/>
            </a:lvl1pPr>
            <a:lvl2pPr>
              <a:defRPr lang="en-US" sz="1000" smtClean="0"/>
            </a:lvl2pPr>
            <a:lvl3pPr>
              <a:defRPr lang="en-US" sz="1000" smtClean="0"/>
            </a:lvl3pPr>
            <a:lvl4pPr>
              <a:defRPr lang="en-US" sz="1000" smtClean="0"/>
            </a:lvl4pPr>
            <a:lvl5pPr>
              <a:defRPr lang="en-US" sz="1200" smtClean="0"/>
            </a:lvl5pPr>
            <a:lvl6pPr>
              <a:defRPr lang="en-US" sz="1000" smtClean="0"/>
            </a:lvl6pPr>
            <a:lvl7pPr>
              <a:defRPr lang="en-US" sz="1000" smtClean="0"/>
            </a:lvl7pPr>
            <a:lvl8pPr>
              <a:defRPr lang="en-US" sz="1000" smtClean="0"/>
            </a:lvl8pPr>
            <a:lvl9pPr>
              <a:defRPr lang="en-US" sz="1200" dirty="0"/>
            </a:lvl9pPr>
          </a:lstStyle>
          <a:p>
            <a:pPr lvl="0"/>
            <a:r>
              <a:rPr lang="de-DE"/>
              <a:t>Mastertextformat bearbeiten</a:t>
            </a:r>
          </a:p>
        </p:txBody>
      </p:sp>
      <p:sp>
        <p:nvSpPr>
          <p:cNvPr id="3" name="circle 1">
            <a:extLst>
              <a:ext uri="{FF2B5EF4-FFF2-40B4-BE49-F238E27FC236}">
                <a16:creationId xmlns:a16="http://schemas.microsoft.com/office/drawing/2014/main" id="{66EF865A-E383-A7AB-B70C-D48BE1424418}"/>
              </a:ext>
            </a:extLst>
          </p:cNvPr>
          <p:cNvSpPr>
            <a:spLocks noGrp="1"/>
          </p:cNvSpPr>
          <p:nvPr>
            <p:ph type="body" idx="1" hasCustomPrompt="1"/>
          </p:nvPr>
        </p:nvSpPr>
        <p:spPr>
          <a:xfrm>
            <a:off x="7142243" y="1324614"/>
            <a:ext cx="720000" cy="72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4" name="icon-placeholder 1">
            <a:extLst>
              <a:ext uri="{FF2B5EF4-FFF2-40B4-BE49-F238E27FC236}">
                <a16:creationId xmlns:a16="http://schemas.microsoft.com/office/drawing/2014/main" id="{39A352DB-4E1A-E132-A720-1AD484EBE7CA}"/>
              </a:ext>
            </a:extLst>
          </p:cNvPr>
          <p:cNvSpPr>
            <a:spLocks noGrp="1"/>
          </p:cNvSpPr>
          <p:nvPr>
            <p:ph sz="quarter" idx="19"/>
          </p:nvPr>
        </p:nvSpPr>
        <p:spPr>
          <a:xfrm>
            <a:off x="7322243" y="1504614"/>
            <a:ext cx="360000" cy="360000"/>
          </a:xfrm>
          <a:prstGeom prst="rect">
            <a:avLst/>
          </a:prstGeom>
        </p:spPr>
        <p:txBody>
          <a:bodyPr anchor="ctr"/>
          <a:lstStyle>
            <a:lvl1pPr algn="ctr">
              <a:defRPr>
                <a:solidFill>
                  <a:schemeClr val="bg1"/>
                </a:solidFill>
              </a:defRPr>
            </a:lvl1pPr>
          </a:lstStyle>
          <a:p>
            <a:pPr lvl="0"/>
            <a:r>
              <a:rPr lang="de-DE"/>
              <a:t>Mastertextformat bearbeiten</a:t>
            </a:r>
          </a:p>
        </p:txBody>
      </p:sp>
      <p:sp>
        <p:nvSpPr>
          <p:cNvPr id="7" name="title">
            <a:extLst>
              <a:ext uri="{FF2B5EF4-FFF2-40B4-BE49-F238E27FC236}">
                <a16:creationId xmlns:a16="http://schemas.microsoft.com/office/drawing/2014/main" id="{7A7461C7-A592-D8D9-0006-53F1781C658B}"/>
              </a:ext>
            </a:extLst>
          </p:cNvPr>
          <p:cNvSpPr>
            <a:spLocks noGrp="1"/>
          </p:cNvSpPr>
          <p:nvPr>
            <p:ph type="title"/>
          </p:nvPr>
        </p:nvSpPr>
        <p:spPr>
          <a:xfrm>
            <a:off x="4320000" y="622301"/>
            <a:ext cx="7313414" cy="648000"/>
          </a:xfrm>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C0586414-654D-FD5A-5B01-5890021AF44E}"/>
              </a:ext>
            </a:extLst>
          </p:cNvPr>
          <p:cNvSpPr>
            <a:spLocks noGrp="1"/>
          </p:cNvSpPr>
          <p:nvPr>
            <p:ph type="body" sz="quarter" idx="14"/>
          </p:nvPr>
        </p:nvSpPr>
        <p:spPr>
          <a:xfrm>
            <a:off x="4341827" y="396000"/>
            <a:ext cx="7313414"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53790891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  015b : picture right : 2 textboxes right">
    <p:spTree>
      <p:nvGrpSpPr>
        <p:cNvPr id="1" name=""/>
        <p:cNvGrpSpPr/>
        <p:nvPr/>
      </p:nvGrpSpPr>
      <p:grpSpPr>
        <a:xfrm>
          <a:off x="0" y="0"/>
          <a:ext cx="0" cy="0"/>
          <a:chOff x="0" y="0"/>
          <a:chExt cx="0" cy="0"/>
        </a:xfrm>
      </p:grpSpPr>
      <p:sp>
        <p:nvSpPr>
          <p:cNvPr id="3" name="picture right 11cm">
            <a:extLst>
              <a:ext uri="{FF2B5EF4-FFF2-40B4-BE49-F238E27FC236}">
                <a16:creationId xmlns:a16="http://schemas.microsoft.com/office/drawing/2014/main" id="{CF39BB89-805E-246B-1F3B-083751F3DF3A}"/>
              </a:ext>
            </a:extLst>
          </p:cNvPr>
          <p:cNvSpPr>
            <a:spLocks noGrp="1"/>
          </p:cNvSpPr>
          <p:nvPr>
            <p:ph type="pic" sz="quarter" idx="10"/>
          </p:nvPr>
        </p:nvSpPr>
        <p:spPr>
          <a:xfrm>
            <a:off x="8244000" y="0"/>
            <a:ext cx="3960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16" name="slide number">
            <a:extLst>
              <a:ext uri="{FF2B5EF4-FFF2-40B4-BE49-F238E27FC236}">
                <a16:creationId xmlns:a16="http://schemas.microsoft.com/office/drawing/2014/main" id="{BEB57DBE-63B8-E581-3096-F2652E6BC47E}"/>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9" name="footer">
            <a:extLst>
              <a:ext uri="{FF2B5EF4-FFF2-40B4-BE49-F238E27FC236}">
                <a16:creationId xmlns:a16="http://schemas.microsoft.com/office/drawing/2014/main" id="{A0884F85-B37A-46FC-CACB-D048B0C1E020}"/>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20" name="date">
            <a:extLst>
              <a:ext uri="{FF2B5EF4-FFF2-40B4-BE49-F238E27FC236}">
                <a16:creationId xmlns:a16="http://schemas.microsoft.com/office/drawing/2014/main" id="{C36A1B14-05F1-8B1B-20DA-31A9A97A783F}"/>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7" name="text 2">
            <a:extLst>
              <a:ext uri="{FF2B5EF4-FFF2-40B4-BE49-F238E27FC236}">
                <a16:creationId xmlns:a16="http://schemas.microsoft.com/office/drawing/2014/main" id="{CAE3D3F0-664E-ABBC-3640-50F182DB9BED}"/>
              </a:ext>
            </a:extLst>
          </p:cNvPr>
          <p:cNvSpPr>
            <a:spLocks noGrp="1"/>
          </p:cNvSpPr>
          <p:nvPr>
            <p:ph type="body" sz="quarter" idx="21"/>
          </p:nvPr>
        </p:nvSpPr>
        <p:spPr>
          <a:xfrm>
            <a:off x="4320000" y="1475999"/>
            <a:ext cx="3528000" cy="4680000"/>
          </a:xfrm>
          <a:noFill/>
        </p:spPr>
        <p:txBody>
          <a:bodyPr vert="horz" lIns="0" tIns="0" rIns="0" bIns="0" rtlCol="0">
            <a:noAutofit/>
          </a:bodyPr>
          <a:lstStyle>
            <a:lvl1pPr>
              <a:defRPr lang="en-US" sz="1000" smtClean="0"/>
            </a:lvl1pPr>
            <a:lvl2pPr>
              <a:defRPr lang="en-US" sz="1000" smtClean="0"/>
            </a:lvl2pPr>
            <a:lvl3pPr>
              <a:defRPr lang="en-US" sz="1000" smtClean="0"/>
            </a:lvl3pPr>
            <a:lvl4pPr>
              <a:defRPr lang="en-US" sz="1000" smtClean="0"/>
            </a:lvl4pPr>
            <a:lvl5pPr>
              <a:defRPr lang="en-US" sz="1200" b="0" kern="1200" spc="40" baseline="0" noProof="0">
                <a:gradFill>
                  <a:gsLst>
                    <a:gs pos="0">
                      <a:srgbClr val="FF4B4B"/>
                    </a:gs>
                    <a:gs pos="100000">
                      <a:srgbClr val="FF744F"/>
                    </a:gs>
                  </a:gsLst>
                  <a:lin ang="18900000" scaled="0"/>
                </a:gradFill>
                <a:latin typeface="+mj-lt"/>
                <a:ea typeface="+mn-ea"/>
                <a:cs typeface="+mn-cs"/>
              </a:defRPr>
            </a:lvl5pPr>
            <a:lvl6pPr>
              <a:defRPr lang="en-US" sz="1000" smtClean="0"/>
            </a:lvl6pPr>
            <a:lvl7pPr>
              <a:defRPr lang="en-US" sz="1000" smtClean="0"/>
            </a:lvl7pPr>
            <a:lvl8pPr>
              <a:defRPr lang="en-US" sz="1000" smtClean="0"/>
            </a:lvl8pPr>
            <a:lvl9pPr>
              <a:defRPr lang="en-US" sz="1200" smtClean="0"/>
            </a:lvl9pPr>
          </a:lstStyle>
          <a:p>
            <a:pPr lvl="0"/>
            <a:r>
              <a:rPr lang="de-DE"/>
              <a:t>Mastertextformat bearbeiten</a:t>
            </a:r>
          </a:p>
        </p:txBody>
      </p:sp>
      <p:sp>
        <p:nvSpPr>
          <p:cNvPr id="5" name="circle 2">
            <a:extLst>
              <a:ext uri="{FF2B5EF4-FFF2-40B4-BE49-F238E27FC236}">
                <a16:creationId xmlns:a16="http://schemas.microsoft.com/office/drawing/2014/main" id="{6D1C1D24-B674-E5C9-9486-71BE10D2EEBC}"/>
              </a:ext>
            </a:extLst>
          </p:cNvPr>
          <p:cNvSpPr>
            <a:spLocks noGrp="1"/>
          </p:cNvSpPr>
          <p:nvPr>
            <p:ph type="body" idx="25" hasCustomPrompt="1"/>
          </p:nvPr>
        </p:nvSpPr>
        <p:spPr>
          <a:xfrm>
            <a:off x="7146244" y="1324614"/>
            <a:ext cx="720000" cy="72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8" name="icon-placeholder 2">
            <a:extLst>
              <a:ext uri="{FF2B5EF4-FFF2-40B4-BE49-F238E27FC236}">
                <a16:creationId xmlns:a16="http://schemas.microsoft.com/office/drawing/2014/main" id="{790F5E0A-19E3-265A-7183-C398C67DE058}"/>
              </a:ext>
            </a:extLst>
          </p:cNvPr>
          <p:cNvSpPr>
            <a:spLocks noGrp="1"/>
          </p:cNvSpPr>
          <p:nvPr>
            <p:ph sz="quarter" idx="26"/>
          </p:nvPr>
        </p:nvSpPr>
        <p:spPr>
          <a:xfrm>
            <a:off x="7326244" y="1504614"/>
            <a:ext cx="360000" cy="360000"/>
          </a:xfrm>
          <a:prstGeom prst="rect">
            <a:avLst/>
          </a:prstGeom>
        </p:spPr>
        <p:txBody>
          <a:bodyPr anchor="ctr"/>
          <a:lstStyle>
            <a:lvl1pPr algn="ctr">
              <a:defRPr>
                <a:solidFill>
                  <a:schemeClr val="bg1"/>
                </a:solidFill>
              </a:defRPr>
            </a:lvl1pPr>
          </a:lstStyle>
          <a:p>
            <a:pPr lvl="0"/>
            <a:r>
              <a:rPr lang="de-DE"/>
              <a:t>Mastertextformat bearbeiten</a:t>
            </a:r>
          </a:p>
        </p:txBody>
      </p:sp>
      <p:sp>
        <p:nvSpPr>
          <p:cNvPr id="15" name="text 1">
            <a:extLst>
              <a:ext uri="{FF2B5EF4-FFF2-40B4-BE49-F238E27FC236}">
                <a16:creationId xmlns:a16="http://schemas.microsoft.com/office/drawing/2014/main" id="{0292821D-E361-102A-F29E-3F6CA54EC1E9}"/>
              </a:ext>
            </a:extLst>
          </p:cNvPr>
          <p:cNvSpPr>
            <a:spLocks noGrp="1"/>
          </p:cNvSpPr>
          <p:nvPr>
            <p:ph type="body" sz="quarter" idx="20"/>
          </p:nvPr>
        </p:nvSpPr>
        <p:spPr>
          <a:xfrm>
            <a:off x="540000" y="1476000"/>
            <a:ext cx="3528000" cy="4680000"/>
          </a:xfrm>
          <a:noFill/>
        </p:spPr>
        <p:txBody>
          <a:bodyPr vert="horz" lIns="0" tIns="0" rIns="0" bIns="0" rtlCol="0">
            <a:noAutofit/>
          </a:bodyPr>
          <a:lstStyle>
            <a:lvl1pPr>
              <a:defRPr lang="en-US" sz="1000" smtClean="0"/>
            </a:lvl1pPr>
            <a:lvl2pPr>
              <a:defRPr lang="en-US" sz="1000" smtClean="0"/>
            </a:lvl2pPr>
            <a:lvl3pPr>
              <a:defRPr lang="en-US" sz="1000" smtClean="0"/>
            </a:lvl3pPr>
            <a:lvl4pPr>
              <a:defRPr lang="en-US" sz="1000" smtClean="0"/>
            </a:lvl4pPr>
            <a:lvl5pPr>
              <a:defRPr lang="en-US" sz="1200" smtClean="0"/>
            </a:lvl5pPr>
            <a:lvl6pPr>
              <a:defRPr lang="en-US" sz="1000" smtClean="0"/>
            </a:lvl6pPr>
            <a:lvl7pPr>
              <a:defRPr lang="en-US" sz="1000" smtClean="0"/>
            </a:lvl7pPr>
            <a:lvl8pPr>
              <a:defRPr lang="en-US" sz="1000" smtClean="0"/>
            </a:lvl8pPr>
            <a:lvl9pPr>
              <a:defRPr lang="en-US" sz="1200" dirty="0"/>
            </a:lvl9pPr>
          </a:lstStyle>
          <a:p>
            <a:pPr lvl="0"/>
            <a:r>
              <a:rPr lang="de-DE"/>
              <a:t>Mastertextformat bearbeiten</a:t>
            </a:r>
          </a:p>
        </p:txBody>
      </p:sp>
      <p:sp>
        <p:nvSpPr>
          <p:cNvPr id="2" name="circle 1">
            <a:extLst>
              <a:ext uri="{FF2B5EF4-FFF2-40B4-BE49-F238E27FC236}">
                <a16:creationId xmlns:a16="http://schemas.microsoft.com/office/drawing/2014/main" id="{5DDC773C-CFDB-6822-7E82-53F46B554E32}"/>
              </a:ext>
            </a:extLst>
          </p:cNvPr>
          <p:cNvSpPr>
            <a:spLocks noGrp="1"/>
          </p:cNvSpPr>
          <p:nvPr>
            <p:ph type="body" idx="1" hasCustomPrompt="1"/>
          </p:nvPr>
        </p:nvSpPr>
        <p:spPr>
          <a:xfrm>
            <a:off x="3353106" y="1324614"/>
            <a:ext cx="720000" cy="72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4" name="icon-placeholder 1">
            <a:extLst>
              <a:ext uri="{FF2B5EF4-FFF2-40B4-BE49-F238E27FC236}">
                <a16:creationId xmlns:a16="http://schemas.microsoft.com/office/drawing/2014/main" id="{0FA06DFB-AE24-87F6-49B6-DC89CB1E0786}"/>
              </a:ext>
            </a:extLst>
          </p:cNvPr>
          <p:cNvSpPr>
            <a:spLocks noGrp="1"/>
          </p:cNvSpPr>
          <p:nvPr>
            <p:ph sz="quarter" idx="19"/>
          </p:nvPr>
        </p:nvSpPr>
        <p:spPr>
          <a:xfrm>
            <a:off x="3533106" y="1504614"/>
            <a:ext cx="360000" cy="360000"/>
          </a:xfrm>
          <a:prstGeom prst="rect">
            <a:avLst/>
          </a:prstGeom>
        </p:spPr>
        <p:txBody>
          <a:bodyPr anchor="ctr"/>
          <a:lstStyle>
            <a:lvl1pPr algn="ctr">
              <a:defRPr>
                <a:solidFill>
                  <a:schemeClr val="bg1"/>
                </a:solidFill>
              </a:defRPr>
            </a:lvl1pPr>
          </a:lstStyle>
          <a:p>
            <a:pPr lvl="0"/>
            <a:r>
              <a:rPr lang="de-DE"/>
              <a:t>Mastertextformat bearbeiten</a:t>
            </a:r>
          </a:p>
        </p:txBody>
      </p:sp>
      <p:sp>
        <p:nvSpPr>
          <p:cNvPr id="7" name="title">
            <a:extLst>
              <a:ext uri="{FF2B5EF4-FFF2-40B4-BE49-F238E27FC236}">
                <a16:creationId xmlns:a16="http://schemas.microsoft.com/office/drawing/2014/main" id="{7A7461C7-A592-D8D9-0006-53F1781C658B}"/>
              </a:ext>
            </a:extLst>
          </p:cNvPr>
          <p:cNvSpPr>
            <a:spLocks noGrp="1"/>
          </p:cNvSpPr>
          <p:nvPr>
            <p:ph type="title"/>
          </p:nvPr>
        </p:nvSpPr>
        <p:spPr>
          <a:xfrm>
            <a:off x="540000" y="622301"/>
            <a:ext cx="7344000" cy="648000"/>
          </a:xfrm>
        </p:spPr>
        <p:txBody>
          <a:bodyPr vert="horz"/>
          <a:lstStyle/>
          <a:p>
            <a:r>
              <a:rPr lang="de-DE"/>
              <a:t>Mastertitelformat bearbeiten</a:t>
            </a:r>
            <a:endParaRPr lang="en-US" dirty="0"/>
          </a:p>
        </p:txBody>
      </p:sp>
      <p:sp>
        <p:nvSpPr>
          <p:cNvPr id="21" name="navigation">
            <a:extLst>
              <a:ext uri="{FF2B5EF4-FFF2-40B4-BE49-F238E27FC236}">
                <a16:creationId xmlns:a16="http://schemas.microsoft.com/office/drawing/2014/main" id="{5ED1B3BB-ED8E-414F-C7FA-C46A025ECBA9}"/>
              </a:ext>
            </a:extLst>
          </p:cNvPr>
          <p:cNvSpPr>
            <a:spLocks noGrp="1"/>
          </p:cNvSpPr>
          <p:nvPr>
            <p:ph type="body" sz="quarter" idx="14"/>
          </p:nvPr>
        </p:nvSpPr>
        <p:spPr>
          <a:xfrm>
            <a:off x="576000" y="396000"/>
            <a:ext cx="730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0588187"/>
      </p:ext>
    </p:extLst>
  </p:cSld>
  <p:clrMapOvr>
    <a:masterClrMapping/>
  </p:clrMapOvr>
  <p:extLst>
    <p:ext uri="{DCECCB84-F9BA-43D5-87BE-67443E8EF086}">
      <p15:sldGuideLst xmlns:p15="http://schemas.microsoft.com/office/powerpoint/2012/main">
        <p15:guide id="1" pos="293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  016 : content top : 2 pictures below">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defRPr lang="en-GB" smtClean="0"/>
            </a:lvl1pPr>
          </a:lstStyle>
          <a:p>
            <a:fld id="{FA573BCF-C0F1-4720-B5E7-944FE630E67D}" type="slidenum">
              <a:rPr lang="en-GB" smtClean="0"/>
              <a:pPr/>
              <a:t>‹Nr.›</a:t>
            </a:fld>
            <a:endParaRPr lang="en-GB" dirty="0"/>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1"/>
                </a:solidFill>
              </a:defRPr>
            </a:lvl1pPr>
          </a:lstStyle>
          <a:p>
            <a:r>
              <a:rPr lang="en-GB"/>
              <a:t>valantic layout samples Route B</a:t>
            </a:r>
            <a:endParaRPr lang="nl-NL" dirty="0"/>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3" name="picture right">
            <a:extLst>
              <a:ext uri="{FF2B5EF4-FFF2-40B4-BE49-F238E27FC236}">
                <a16:creationId xmlns:a16="http://schemas.microsoft.com/office/drawing/2014/main" id="{1D0F5D2A-81FE-3833-2907-78B51B326DF1}"/>
              </a:ext>
            </a:extLst>
          </p:cNvPr>
          <p:cNvSpPr>
            <a:spLocks noGrp="1"/>
          </p:cNvSpPr>
          <p:nvPr>
            <p:ph type="pic" sz="quarter" idx="16"/>
          </p:nvPr>
        </p:nvSpPr>
        <p:spPr>
          <a:xfrm>
            <a:off x="7200000" y="3798472"/>
            <a:ext cx="5112000" cy="2376000"/>
          </a:xfrm>
          <a:prstGeom prst="roundRect">
            <a:avLst>
              <a:gd name="adj" fmla="val 2810"/>
            </a:avLst>
          </a:prstGeom>
          <a:solidFill>
            <a:schemeClr val="bg1"/>
          </a:solidFill>
          <a:effectLst/>
        </p:spPr>
        <p:txBody>
          <a:bodyPr/>
          <a:lstStyle/>
          <a:p>
            <a:r>
              <a:rPr lang="de-DE"/>
              <a:t>Bild durch Klicken auf Symbol hinzufügen</a:t>
            </a:r>
            <a:endParaRPr lang="en-DE" dirty="0"/>
          </a:p>
        </p:txBody>
      </p:sp>
      <p:sp>
        <p:nvSpPr>
          <p:cNvPr id="4" name="picture left">
            <a:extLst>
              <a:ext uri="{FF2B5EF4-FFF2-40B4-BE49-F238E27FC236}">
                <a16:creationId xmlns:a16="http://schemas.microsoft.com/office/drawing/2014/main" id="{9DC2B4CA-1091-CD31-C625-B499A7922DF0}"/>
              </a:ext>
            </a:extLst>
          </p:cNvPr>
          <p:cNvSpPr>
            <a:spLocks noGrp="1"/>
          </p:cNvSpPr>
          <p:nvPr>
            <p:ph type="pic" sz="quarter" idx="17"/>
          </p:nvPr>
        </p:nvSpPr>
        <p:spPr>
          <a:xfrm>
            <a:off x="1800000" y="3798472"/>
            <a:ext cx="5112000" cy="2376000"/>
          </a:xfrm>
          <a:prstGeom prst="roundRect">
            <a:avLst>
              <a:gd name="adj" fmla="val 2963"/>
            </a:avLst>
          </a:prstGeom>
          <a:solidFill>
            <a:schemeClr val="bg1"/>
          </a:solidFill>
          <a:effectLst/>
        </p:spPr>
        <p:txBody>
          <a:bodyPr/>
          <a:lstStyle/>
          <a:p>
            <a:r>
              <a:rPr lang="de-DE"/>
              <a:t>Bild durch Klicken auf Symbol hinzufügen</a:t>
            </a:r>
            <a:endParaRPr lang="en-DE" dirty="0"/>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1800000" y="1476000"/>
            <a:ext cx="9864000" cy="2160000"/>
          </a:xfrm>
          <a:noFill/>
        </p:spPr>
        <p:txBody>
          <a:bodyPr vert="horz" lIns="0" tIns="0" rIns="0" bIns="0" rtlCol="0" anchor="b">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p:txBody>
      </p:sp>
      <p:sp>
        <p:nvSpPr>
          <p:cNvPr id="16" name="title">
            <a:extLst>
              <a:ext uri="{FF2B5EF4-FFF2-40B4-BE49-F238E27FC236}">
                <a16:creationId xmlns:a16="http://schemas.microsoft.com/office/drawing/2014/main" id="{E54BCACE-F7FE-E7F5-8B89-3D95049EA30D}"/>
              </a:ext>
            </a:extLst>
          </p:cNvPr>
          <p:cNvSpPr>
            <a:spLocks noGrp="1"/>
          </p:cNvSpPr>
          <p:nvPr>
            <p:ph type="title"/>
          </p:nvPr>
        </p:nvSpPr>
        <p:spPr/>
        <p:txBody>
          <a:bodyPr vert="horz"/>
          <a:lstStyle/>
          <a:p>
            <a:r>
              <a:rPr lang="de-DE"/>
              <a:t>Mastertitelformat bearbeiten</a:t>
            </a:r>
            <a:endParaRPr lang="en-US" dirty="0"/>
          </a:p>
        </p:txBody>
      </p:sp>
      <p:sp>
        <p:nvSpPr>
          <p:cNvPr id="11" name="navigation">
            <a:extLst>
              <a:ext uri="{FF2B5EF4-FFF2-40B4-BE49-F238E27FC236}">
                <a16:creationId xmlns:a16="http://schemas.microsoft.com/office/drawing/2014/main" id="{8F6EF335-A824-493F-EF26-F29C4D10FD16}"/>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425528900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  017 : 2 contents : 2 pictures right">
    <p:spTree>
      <p:nvGrpSpPr>
        <p:cNvPr id="1" name=""/>
        <p:cNvGrpSpPr/>
        <p:nvPr/>
      </p:nvGrpSpPr>
      <p:grpSpPr>
        <a:xfrm>
          <a:off x="0" y="0"/>
          <a:ext cx="0" cy="0"/>
          <a:chOff x="0" y="0"/>
          <a:chExt cx="0" cy="0"/>
        </a:xfrm>
      </p:grpSpPr>
      <p:sp>
        <p:nvSpPr>
          <p:cNvPr id="11" name="slide number">
            <a:extLst>
              <a:ext uri="{FF2B5EF4-FFF2-40B4-BE49-F238E27FC236}">
                <a16:creationId xmlns:a16="http://schemas.microsoft.com/office/drawing/2014/main" id="{20BD20B0-44FC-5A88-79A0-DCADC338C2FC}"/>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D861FB85-24E1-52B5-92C3-DFCDDD4C73DE}"/>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9C40A435-687C-A3A2-46E3-09D4D87E5897}"/>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3" name="picture right">
            <a:extLst>
              <a:ext uri="{FF2B5EF4-FFF2-40B4-BE49-F238E27FC236}">
                <a16:creationId xmlns:a16="http://schemas.microsoft.com/office/drawing/2014/main" id="{1D0F5D2A-81FE-3833-2907-78B51B326DF1}"/>
              </a:ext>
            </a:extLst>
          </p:cNvPr>
          <p:cNvSpPr>
            <a:spLocks noGrp="1"/>
          </p:cNvSpPr>
          <p:nvPr>
            <p:ph type="pic" sz="quarter" idx="16"/>
          </p:nvPr>
        </p:nvSpPr>
        <p:spPr>
          <a:xfrm>
            <a:off x="7200000" y="3798472"/>
            <a:ext cx="5112000" cy="2376000"/>
          </a:xfrm>
          <a:prstGeom prst="roundRect">
            <a:avLst>
              <a:gd name="adj" fmla="val 2626"/>
            </a:avLst>
          </a:prstGeom>
          <a:solidFill>
            <a:schemeClr val="bg1"/>
          </a:solidFill>
          <a:effectLst/>
        </p:spPr>
        <p:txBody>
          <a:bodyPr/>
          <a:lstStyle/>
          <a:p>
            <a:r>
              <a:rPr lang="de-DE"/>
              <a:t>Bild durch Klicken auf Symbol hinzufügen</a:t>
            </a:r>
            <a:endParaRPr lang="en-DE" dirty="0"/>
          </a:p>
        </p:txBody>
      </p:sp>
      <p:sp>
        <p:nvSpPr>
          <p:cNvPr id="4" name="picture left">
            <a:extLst>
              <a:ext uri="{FF2B5EF4-FFF2-40B4-BE49-F238E27FC236}">
                <a16:creationId xmlns:a16="http://schemas.microsoft.com/office/drawing/2014/main" id="{9DC2B4CA-1091-CD31-C625-B499A7922DF0}"/>
              </a:ext>
            </a:extLst>
          </p:cNvPr>
          <p:cNvSpPr>
            <a:spLocks noGrp="1"/>
          </p:cNvSpPr>
          <p:nvPr>
            <p:ph type="pic" sz="quarter" idx="17"/>
          </p:nvPr>
        </p:nvSpPr>
        <p:spPr>
          <a:xfrm>
            <a:off x="1800000" y="3798472"/>
            <a:ext cx="5112000" cy="2376000"/>
          </a:xfrm>
          <a:prstGeom prst="roundRect">
            <a:avLst>
              <a:gd name="adj" fmla="val 2953"/>
            </a:avLst>
          </a:prstGeom>
          <a:solidFill>
            <a:schemeClr val="bg1"/>
          </a:solidFill>
          <a:effectLst/>
        </p:spPr>
        <p:txBody>
          <a:bodyPr/>
          <a:lstStyle/>
          <a:p>
            <a:r>
              <a:rPr lang="de-DE"/>
              <a:t>Bild durch Klicken auf Symbol hinzufügen</a:t>
            </a:r>
            <a:endParaRPr lang="en-DE" dirty="0"/>
          </a:p>
        </p:txBody>
      </p:sp>
      <p:sp>
        <p:nvSpPr>
          <p:cNvPr id="2" name="content right">
            <a:extLst>
              <a:ext uri="{FF2B5EF4-FFF2-40B4-BE49-F238E27FC236}">
                <a16:creationId xmlns:a16="http://schemas.microsoft.com/office/drawing/2014/main" id="{7AE5D198-395E-4863-A7A5-07680FA32CD3}"/>
              </a:ext>
            </a:extLst>
          </p:cNvPr>
          <p:cNvSpPr>
            <a:spLocks noGrp="1"/>
          </p:cNvSpPr>
          <p:nvPr>
            <p:ph sz="quarter" idx="18"/>
          </p:nvPr>
        </p:nvSpPr>
        <p:spPr>
          <a:xfrm>
            <a:off x="5400000" y="1476000"/>
            <a:ext cx="6264000" cy="1800000"/>
          </a:xfrm>
          <a:noFill/>
        </p:spPr>
        <p:txBody>
          <a:bodyPr vert="horz" lIns="0" tIns="0" rIns="0" bIns="0" rtlCol="0" anchor="b">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p:txBody>
      </p:sp>
      <p:sp>
        <p:nvSpPr>
          <p:cNvPr id="14" name="content left">
            <a:extLst>
              <a:ext uri="{FF2B5EF4-FFF2-40B4-BE49-F238E27FC236}">
                <a16:creationId xmlns:a16="http://schemas.microsoft.com/office/drawing/2014/main" id="{438C11ED-D1E2-4D8E-7E92-53DCAC4E4BB0}"/>
              </a:ext>
            </a:extLst>
          </p:cNvPr>
          <p:cNvSpPr>
            <a:spLocks noGrp="1"/>
          </p:cNvSpPr>
          <p:nvPr>
            <p:ph sz="quarter" idx="15"/>
          </p:nvPr>
        </p:nvSpPr>
        <p:spPr>
          <a:xfrm>
            <a:off x="1800000" y="1476000"/>
            <a:ext cx="3240000" cy="1800000"/>
          </a:xfrm>
          <a:noFill/>
        </p:spPr>
        <p:txBody>
          <a:bodyPr vert="horz" lIns="0" tIns="0" rIns="360000" bIns="0" rtlCol="0" anchor="b">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p:txBody>
      </p:sp>
      <p:sp>
        <p:nvSpPr>
          <p:cNvPr id="16" name="title">
            <a:extLst>
              <a:ext uri="{FF2B5EF4-FFF2-40B4-BE49-F238E27FC236}">
                <a16:creationId xmlns:a16="http://schemas.microsoft.com/office/drawing/2014/main" id="{E54BCACE-F7FE-E7F5-8B89-3D95049EA30D}"/>
              </a:ext>
            </a:extLst>
          </p:cNvPr>
          <p:cNvSpPr>
            <a:spLocks noGrp="1"/>
          </p:cNvSpPr>
          <p:nvPr>
            <p:ph type="title"/>
          </p:nvPr>
        </p:nvSpPr>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19CB1578-86A9-0BDA-D183-9BADBB4E4F6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560197123"/>
      </p:ext>
    </p:extLst>
  </p:cSld>
  <p:clrMapOvr>
    <a:masterClrMapping/>
  </p:clrMapOvr>
  <p:extLst>
    <p:ext uri="{DCECCB84-F9BA-43D5-87BE-67443E8EF086}">
      <p15:sldGuideLst xmlns:p15="http://schemas.microsoft.com/office/powerpoint/2012/main">
        <p15:guide id="1" pos="338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  018 : title small : 3 pictures : 3 contents">
    <p:spTree>
      <p:nvGrpSpPr>
        <p:cNvPr id="1" name=""/>
        <p:cNvGrpSpPr/>
        <p:nvPr/>
      </p:nvGrpSpPr>
      <p:grpSpPr>
        <a:xfrm>
          <a:off x="0" y="0"/>
          <a:ext cx="0" cy="0"/>
          <a:chOff x="0" y="0"/>
          <a:chExt cx="0" cy="0"/>
        </a:xfrm>
      </p:grpSpPr>
      <p:sp>
        <p:nvSpPr>
          <p:cNvPr id="10" name="slide number">
            <a:extLst>
              <a:ext uri="{FF2B5EF4-FFF2-40B4-BE49-F238E27FC236}">
                <a16:creationId xmlns:a16="http://schemas.microsoft.com/office/drawing/2014/main" id="{43A8C717-4722-397F-A0C8-433FF5FE640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2FBD8772-FE66-8FDF-84A4-30F5BE97517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E99FB28A-22AA-994E-7043-22AAEC7A3A3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4" name="content 3">
            <a:extLst>
              <a:ext uri="{FF2B5EF4-FFF2-40B4-BE49-F238E27FC236}">
                <a16:creationId xmlns:a16="http://schemas.microsoft.com/office/drawing/2014/main" id="{BAD52ADE-440B-F73C-8384-4062C1392FE1}"/>
              </a:ext>
            </a:extLst>
          </p:cNvPr>
          <p:cNvSpPr>
            <a:spLocks noGrp="1"/>
          </p:cNvSpPr>
          <p:nvPr>
            <p:ph sz="quarter" idx="20"/>
          </p:nvPr>
        </p:nvSpPr>
        <p:spPr>
          <a:xfrm>
            <a:off x="8939478" y="3240001"/>
            <a:ext cx="2700000" cy="2916000"/>
          </a:xfrm>
          <a:noFill/>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p:txBody>
      </p:sp>
      <p:sp>
        <p:nvSpPr>
          <p:cNvPr id="20" name="picture 3">
            <a:extLst>
              <a:ext uri="{FF2B5EF4-FFF2-40B4-BE49-F238E27FC236}">
                <a16:creationId xmlns:a16="http://schemas.microsoft.com/office/drawing/2014/main" id="{16D161C1-5395-1A70-B6E9-DDB636142C18}"/>
              </a:ext>
            </a:extLst>
          </p:cNvPr>
          <p:cNvSpPr>
            <a:spLocks noGrp="1"/>
          </p:cNvSpPr>
          <p:nvPr>
            <p:ph type="pic" sz="quarter" idx="18"/>
          </p:nvPr>
        </p:nvSpPr>
        <p:spPr>
          <a:xfrm>
            <a:off x="8934972" y="-180000"/>
            <a:ext cx="2700000" cy="3240000"/>
          </a:xfrm>
          <a:prstGeom prst="roundRect">
            <a:avLst>
              <a:gd name="adj" fmla="val 2626"/>
            </a:avLst>
          </a:prstGeom>
          <a:solidFill>
            <a:schemeClr val="bg1"/>
          </a:solidFill>
          <a:effectLst/>
        </p:spPr>
        <p:txBody>
          <a:bodyPr/>
          <a:lstStyle/>
          <a:p>
            <a:r>
              <a:rPr lang="de-DE"/>
              <a:t>Bild durch Klicken auf Symbol hinzufügen</a:t>
            </a:r>
            <a:endParaRPr lang="en-DE" dirty="0"/>
          </a:p>
        </p:txBody>
      </p:sp>
      <p:sp>
        <p:nvSpPr>
          <p:cNvPr id="23" name="content 2">
            <a:extLst>
              <a:ext uri="{FF2B5EF4-FFF2-40B4-BE49-F238E27FC236}">
                <a16:creationId xmlns:a16="http://schemas.microsoft.com/office/drawing/2014/main" id="{36EDB524-3828-3196-B148-EA4D6A28C4CA}"/>
              </a:ext>
            </a:extLst>
          </p:cNvPr>
          <p:cNvSpPr>
            <a:spLocks noGrp="1"/>
          </p:cNvSpPr>
          <p:nvPr>
            <p:ph sz="quarter" idx="19"/>
          </p:nvPr>
        </p:nvSpPr>
        <p:spPr>
          <a:xfrm>
            <a:off x="6079652" y="3240001"/>
            <a:ext cx="2700000" cy="2916000"/>
          </a:xfrm>
          <a:noFill/>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p:txBody>
      </p:sp>
      <p:sp>
        <p:nvSpPr>
          <p:cNvPr id="3" name="picture 2">
            <a:extLst>
              <a:ext uri="{FF2B5EF4-FFF2-40B4-BE49-F238E27FC236}">
                <a16:creationId xmlns:a16="http://schemas.microsoft.com/office/drawing/2014/main" id="{1D0F5D2A-81FE-3833-2907-78B51B326DF1}"/>
              </a:ext>
            </a:extLst>
          </p:cNvPr>
          <p:cNvSpPr>
            <a:spLocks noGrp="1"/>
          </p:cNvSpPr>
          <p:nvPr>
            <p:ph type="pic" sz="quarter" idx="16"/>
          </p:nvPr>
        </p:nvSpPr>
        <p:spPr>
          <a:xfrm>
            <a:off x="6087486" y="-180000"/>
            <a:ext cx="2700000" cy="3240000"/>
          </a:xfrm>
          <a:prstGeom prst="roundRect">
            <a:avLst>
              <a:gd name="adj" fmla="val 2626"/>
            </a:avLst>
          </a:prstGeom>
          <a:solidFill>
            <a:schemeClr val="bg1"/>
          </a:solidFill>
          <a:effectLst/>
        </p:spPr>
        <p:txBody>
          <a:bodyPr/>
          <a:lstStyle/>
          <a:p>
            <a:r>
              <a:rPr lang="de-DE"/>
              <a:t>Bild durch Klicken auf Symbol hinzufügen</a:t>
            </a:r>
            <a:endParaRPr lang="en-DE" dirty="0"/>
          </a:p>
        </p:txBody>
      </p:sp>
      <p:sp>
        <p:nvSpPr>
          <p:cNvPr id="14" name="content 1">
            <a:extLst>
              <a:ext uri="{FF2B5EF4-FFF2-40B4-BE49-F238E27FC236}">
                <a16:creationId xmlns:a16="http://schemas.microsoft.com/office/drawing/2014/main" id="{438C11ED-D1E2-4D8E-7E92-53DCAC4E4BB0}"/>
              </a:ext>
            </a:extLst>
          </p:cNvPr>
          <p:cNvSpPr>
            <a:spLocks noGrp="1"/>
          </p:cNvSpPr>
          <p:nvPr>
            <p:ph sz="quarter" idx="15"/>
          </p:nvPr>
        </p:nvSpPr>
        <p:spPr>
          <a:xfrm>
            <a:off x="3219825" y="3240001"/>
            <a:ext cx="2700000" cy="2916000"/>
          </a:xfrm>
          <a:noFill/>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p:txBody>
      </p:sp>
      <p:sp>
        <p:nvSpPr>
          <p:cNvPr id="4" name="picture 1">
            <a:extLst>
              <a:ext uri="{FF2B5EF4-FFF2-40B4-BE49-F238E27FC236}">
                <a16:creationId xmlns:a16="http://schemas.microsoft.com/office/drawing/2014/main" id="{9DC2B4CA-1091-CD31-C625-B499A7922DF0}"/>
              </a:ext>
            </a:extLst>
          </p:cNvPr>
          <p:cNvSpPr>
            <a:spLocks noGrp="1"/>
          </p:cNvSpPr>
          <p:nvPr>
            <p:ph type="pic" sz="quarter" idx="17"/>
          </p:nvPr>
        </p:nvSpPr>
        <p:spPr>
          <a:xfrm>
            <a:off x="3240000" y="-180000"/>
            <a:ext cx="2700000" cy="3240000"/>
          </a:xfrm>
          <a:prstGeom prst="roundRect">
            <a:avLst>
              <a:gd name="adj" fmla="val 2001"/>
            </a:avLst>
          </a:prstGeom>
          <a:solidFill>
            <a:schemeClr val="bg1"/>
          </a:solidFill>
          <a:effectLst/>
        </p:spPr>
        <p:txBody>
          <a:bodyPr/>
          <a:lstStyle/>
          <a:p>
            <a:r>
              <a:rPr lang="de-DE"/>
              <a:t>Bild durch Klicken auf Symbol hinzufügen</a:t>
            </a:r>
            <a:endParaRPr lang="en-DE" dirty="0"/>
          </a:p>
        </p:txBody>
      </p:sp>
      <p:sp>
        <p:nvSpPr>
          <p:cNvPr id="11" name="subtitle">
            <a:extLst>
              <a:ext uri="{FF2B5EF4-FFF2-40B4-BE49-F238E27FC236}">
                <a16:creationId xmlns:a16="http://schemas.microsoft.com/office/drawing/2014/main" id="{EE4F1825-9269-3164-D5CF-9080D1FE03C3}"/>
              </a:ext>
            </a:extLst>
          </p:cNvPr>
          <p:cNvSpPr>
            <a:spLocks noGrp="1"/>
          </p:cNvSpPr>
          <p:nvPr>
            <p:ph type="body" idx="13"/>
          </p:nvPr>
        </p:nvSpPr>
        <p:spPr>
          <a:xfrm>
            <a:off x="539999" y="3148551"/>
            <a:ext cx="2520000" cy="3007450"/>
          </a:xfrm>
          <a:noFill/>
        </p:spPr>
        <p:txBody>
          <a:bodyPr vert="horz" lIns="0" tIns="0" rIns="0" bIns="0" rtlCol="0" anchor="t">
            <a:noAutofit/>
          </a:bodyPr>
          <a:lstStyle>
            <a:lvl1pPr>
              <a:lnSpc>
                <a:spcPts val="3000"/>
              </a:lnSpc>
              <a:spcAft>
                <a:spcPts val="0"/>
              </a:spcAft>
              <a:defRPr lang="en-US" sz="2400" spc="0" baseline="0" dirty="0">
                <a:solidFill>
                  <a:schemeClr val="tx1"/>
                </a:solidFill>
                <a:latin typeface="+mn-lt"/>
                <a:ea typeface="Segoe UI Black" panose="020B0A02040204020203" pitchFamily="34" charset="0"/>
                <a:cs typeface="Segoe UI Light" panose="020B0502040204020203" pitchFamily="34" charset="0"/>
              </a:defRPr>
            </a:lvl1pPr>
          </a:lstStyle>
          <a:p>
            <a:pPr lvl="0">
              <a:lnSpc>
                <a:spcPts val="2800"/>
              </a:lnSpc>
              <a:spcBef>
                <a:spcPct val="0"/>
              </a:spcBef>
              <a:tabLst>
                <a:tab pos="10760075" algn="r"/>
              </a:tabLst>
            </a:pPr>
            <a:r>
              <a:rPr lang="de-DE"/>
              <a:t>Mastertextformat bearbeiten</a:t>
            </a:r>
          </a:p>
        </p:txBody>
      </p:sp>
      <p:sp>
        <p:nvSpPr>
          <p:cNvPr id="16" name="title">
            <a:extLst>
              <a:ext uri="{FF2B5EF4-FFF2-40B4-BE49-F238E27FC236}">
                <a16:creationId xmlns:a16="http://schemas.microsoft.com/office/drawing/2014/main" id="{E54BCACE-F7FE-E7F5-8B89-3D95049EA30D}"/>
              </a:ext>
            </a:extLst>
          </p:cNvPr>
          <p:cNvSpPr>
            <a:spLocks noGrp="1"/>
          </p:cNvSpPr>
          <p:nvPr>
            <p:ph type="title"/>
          </p:nvPr>
        </p:nvSpPr>
        <p:spPr>
          <a:xfrm>
            <a:off x="540000" y="622301"/>
            <a:ext cx="2519999" cy="2507398"/>
          </a:xfrm>
        </p:spPr>
        <p:txBody>
          <a:bodyPr vert="horz" anchor="b"/>
          <a:lstStyle/>
          <a:p>
            <a:r>
              <a:rPr lang="de-DE"/>
              <a:t>Mastertitelformat bearbeiten</a:t>
            </a:r>
            <a:endParaRPr lang="en-US" dirty="0"/>
          </a:p>
        </p:txBody>
      </p:sp>
      <p:sp>
        <p:nvSpPr>
          <p:cNvPr id="2" name="navigation">
            <a:extLst>
              <a:ext uri="{FF2B5EF4-FFF2-40B4-BE49-F238E27FC236}">
                <a16:creationId xmlns:a16="http://schemas.microsoft.com/office/drawing/2014/main" id="{AD6AF56D-58A3-40A6-7508-E3363684801A}"/>
              </a:ext>
            </a:extLst>
          </p:cNvPr>
          <p:cNvSpPr>
            <a:spLocks noGrp="1"/>
          </p:cNvSpPr>
          <p:nvPr>
            <p:ph type="body" sz="quarter" idx="14"/>
          </p:nvPr>
        </p:nvSpPr>
        <p:spPr>
          <a:xfrm>
            <a:off x="576000" y="396000"/>
            <a:ext cx="252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90795453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  018a : title small : 3 contents : picture">
    <p:spTree>
      <p:nvGrpSpPr>
        <p:cNvPr id="1" name=""/>
        <p:cNvGrpSpPr/>
        <p:nvPr/>
      </p:nvGrpSpPr>
      <p:grpSpPr>
        <a:xfrm>
          <a:off x="0" y="0"/>
          <a:ext cx="0" cy="0"/>
          <a:chOff x="0" y="0"/>
          <a:chExt cx="0" cy="0"/>
        </a:xfrm>
      </p:grpSpPr>
      <p:sp>
        <p:nvSpPr>
          <p:cNvPr id="10" name="slide number">
            <a:extLst>
              <a:ext uri="{FF2B5EF4-FFF2-40B4-BE49-F238E27FC236}">
                <a16:creationId xmlns:a16="http://schemas.microsoft.com/office/drawing/2014/main" id="{43A8C717-4722-397F-A0C8-433FF5FE640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2FBD8772-FE66-8FDF-84A4-30F5BE97517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E99FB28A-22AA-994E-7043-22AAEC7A3A3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4" name="content 3">
            <a:extLst>
              <a:ext uri="{FF2B5EF4-FFF2-40B4-BE49-F238E27FC236}">
                <a16:creationId xmlns:a16="http://schemas.microsoft.com/office/drawing/2014/main" id="{BAD52ADE-440B-F73C-8384-4062C1392FE1}"/>
              </a:ext>
            </a:extLst>
          </p:cNvPr>
          <p:cNvSpPr>
            <a:spLocks noGrp="1"/>
          </p:cNvSpPr>
          <p:nvPr>
            <p:ph sz="quarter" idx="20"/>
          </p:nvPr>
        </p:nvSpPr>
        <p:spPr>
          <a:xfrm>
            <a:off x="8928000" y="1476000"/>
            <a:ext cx="2700000" cy="4680000"/>
          </a:xfrm>
          <a:noFill/>
        </p:spPr>
        <p:txBody>
          <a:bodyPr vert="horz" lIns="0" tIns="0" rIns="0" bIns="0" rtlCol="0" anchor="t" anchorCtr="0">
            <a:noAutofit/>
          </a:bodyPr>
          <a:lstStyle>
            <a:lvl1pPr>
              <a:defRPr lang="de-DE" dirty="0"/>
            </a:lvl1pPr>
            <a:lvl2pPr>
              <a:defRPr lang="de-DE" dirty="0"/>
            </a:lvl2pPr>
            <a:lvl3pPr>
              <a:defRPr lang="de-DE" dirty="0"/>
            </a:lvl3pPr>
            <a:lvl4pPr>
              <a:defRPr lang="de-DE" dirty="0"/>
            </a:lvl4pPr>
            <a:lvl5pPr>
              <a:defRPr lang="en-US" dirty="0"/>
            </a:lvl5pPr>
          </a:lstStyle>
          <a:p>
            <a:pPr lvl="0">
              <a:tabLst>
                <a:tab pos="723900" algn="r"/>
              </a:tabLst>
            </a:pPr>
            <a:r>
              <a:rPr lang="de-DE"/>
              <a:t>Mastertextformat bearbeiten</a:t>
            </a:r>
          </a:p>
        </p:txBody>
      </p:sp>
      <p:sp>
        <p:nvSpPr>
          <p:cNvPr id="5" name="picture 3">
            <a:extLst>
              <a:ext uri="{FF2B5EF4-FFF2-40B4-BE49-F238E27FC236}">
                <a16:creationId xmlns:a16="http://schemas.microsoft.com/office/drawing/2014/main" id="{D7D0480A-C3B5-74C8-1304-1EAB20CA39B4}"/>
              </a:ext>
            </a:extLst>
          </p:cNvPr>
          <p:cNvSpPr>
            <a:spLocks noGrp="1"/>
          </p:cNvSpPr>
          <p:nvPr>
            <p:ph type="pic" sz="quarter" idx="23"/>
          </p:nvPr>
        </p:nvSpPr>
        <p:spPr>
          <a:xfrm>
            <a:off x="8928000" y="-108000"/>
            <a:ext cx="2700000" cy="1296000"/>
          </a:xfrm>
          <a:prstGeom prst="roundRect">
            <a:avLst>
              <a:gd name="adj" fmla="val 339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6" name="content 2">
            <a:extLst>
              <a:ext uri="{FF2B5EF4-FFF2-40B4-BE49-F238E27FC236}">
                <a16:creationId xmlns:a16="http://schemas.microsoft.com/office/drawing/2014/main" id="{2C21E649-D4FE-225C-3B18-3AD92B4AC511}"/>
              </a:ext>
            </a:extLst>
          </p:cNvPr>
          <p:cNvSpPr>
            <a:spLocks noGrp="1"/>
          </p:cNvSpPr>
          <p:nvPr>
            <p:ph sz="quarter" idx="24"/>
          </p:nvPr>
        </p:nvSpPr>
        <p:spPr>
          <a:xfrm>
            <a:off x="6073912" y="1476000"/>
            <a:ext cx="2700000" cy="4680000"/>
          </a:xfrm>
          <a:noFill/>
        </p:spPr>
        <p:txBody>
          <a:bodyPr vert="horz" lIns="0" tIns="0" rIns="0" bIns="0" rtlCol="0" anchor="t" anchorCtr="0">
            <a:noAutofit/>
          </a:bodyPr>
          <a:lstStyle>
            <a:lvl1pPr>
              <a:defRPr lang="de-DE" dirty="0"/>
            </a:lvl1pPr>
            <a:lvl2pPr>
              <a:defRPr lang="de-DE" dirty="0"/>
            </a:lvl2pPr>
            <a:lvl3pPr>
              <a:defRPr lang="de-DE" dirty="0"/>
            </a:lvl3pPr>
            <a:lvl4pPr>
              <a:defRPr lang="de-DE" dirty="0"/>
            </a:lvl4pPr>
            <a:lvl5pPr>
              <a:defRPr lang="en-US" dirty="0"/>
            </a:lvl5pPr>
          </a:lstStyle>
          <a:p>
            <a:pPr lvl="0">
              <a:tabLst>
                <a:tab pos="723900" algn="r"/>
              </a:tabLst>
            </a:pPr>
            <a:r>
              <a:rPr lang="de-DE"/>
              <a:t>Mastertextformat bearbeiten</a:t>
            </a:r>
          </a:p>
        </p:txBody>
      </p:sp>
      <p:sp>
        <p:nvSpPr>
          <p:cNvPr id="4" name="picture 2">
            <a:extLst>
              <a:ext uri="{FF2B5EF4-FFF2-40B4-BE49-F238E27FC236}">
                <a16:creationId xmlns:a16="http://schemas.microsoft.com/office/drawing/2014/main" id="{39CC87F6-AD8E-F897-AEA1-26E3489CE465}"/>
              </a:ext>
            </a:extLst>
          </p:cNvPr>
          <p:cNvSpPr>
            <a:spLocks noGrp="1"/>
          </p:cNvSpPr>
          <p:nvPr>
            <p:ph type="pic" sz="quarter" idx="22"/>
          </p:nvPr>
        </p:nvSpPr>
        <p:spPr>
          <a:xfrm>
            <a:off x="6084000" y="-108000"/>
            <a:ext cx="2700000" cy="1296000"/>
          </a:xfrm>
          <a:prstGeom prst="roundRect">
            <a:avLst>
              <a:gd name="adj" fmla="val 339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14" name="content 1">
            <a:extLst>
              <a:ext uri="{FF2B5EF4-FFF2-40B4-BE49-F238E27FC236}">
                <a16:creationId xmlns:a16="http://schemas.microsoft.com/office/drawing/2014/main" id="{438C11ED-D1E2-4D8E-7E92-53DCAC4E4BB0}"/>
              </a:ext>
            </a:extLst>
          </p:cNvPr>
          <p:cNvSpPr>
            <a:spLocks noGrp="1"/>
          </p:cNvSpPr>
          <p:nvPr>
            <p:ph sz="quarter" idx="15"/>
          </p:nvPr>
        </p:nvSpPr>
        <p:spPr>
          <a:xfrm>
            <a:off x="3219824" y="1476000"/>
            <a:ext cx="2700000" cy="4680000"/>
          </a:xfrm>
          <a:noFill/>
        </p:spPr>
        <p:txBody>
          <a:bodyPr vert="horz" lIns="0" tIns="0" rIns="0" bIns="0" rtlCol="0" anchor="t" anchorCtr="0">
            <a:noAutofit/>
          </a:bodyPr>
          <a:lstStyle>
            <a:lvl1pPr>
              <a:tabLst>
                <a:tab pos="723900" algn="r"/>
              </a:tabLst>
              <a:defRPr lang="de-DE"/>
            </a:lvl1pPr>
            <a:lvl2pPr>
              <a:tabLst>
                <a:tab pos="723900" algn="r"/>
              </a:tabLst>
              <a:defRPr lang="de-DE"/>
            </a:lvl2pPr>
            <a:lvl3pPr>
              <a:tabLst>
                <a:tab pos="723900" algn="r"/>
              </a:tabLst>
              <a:defRPr lang="de-DE"/>
            </a:lvl3pPr>
            <a:lvl4pPr>
              <a:tabLst>
                <a:tab pos="723900" algn="r"/>
              </a:tabLst>
              <a:defRPr lang="de-DE"/>
            </a:lvl4pPr>
            <a:lvl5pPr>
              <a:tabLst>
                <a:tab pos="723900" algn="r"/>
              </a:tabLst>
              <a:defRPr lang="en-US" dirty="0"/>
            </a:lvl5pPr>
          </a:lstStyle>
          <a:p>
            <a:pPr lvl="0"/>
            <a:r>
              <a:rPr lang="de-DE"/>
              <a:t>Mastertextformat bearbeiten</a:t>
            </a:r>
          </a:p>
        </p:txBody>
      </p:sp>
      <p:sp>
        <p:nvSpPr>
          <p:cNvPr id="3" name="picture 1">
            <a:extLst>
              <a:ext uri="{FF2B5EF4-FFF2-40B4-BE49-F238E27FC236}">
                <a16:creationId xmlns:a16="http://schemas.microsoft.com/office/drawing/2014/main" id="{A151D760-B972-579B-82FB-106085E476A2}"/>
              </a:ext>
            </a:extLst>
          </p:cNvPr>
          <p:cNvSpPr>
            <a:spLocks noGrp="1"/>
          </p:cNvSpPr>
          <p:nvPr>
            <p:ph type="pic" sz="quarter" idx="21"/>
          </p:nvPr>
        </p:nvSpPr>
        <p:spPr>
          <a:xfrm>
            <a:off x="3219824" y="-108000"/>
            <a:ext cx="2700000" cy="1296000"/>
          </a:xfrm>
          <a:prstGeom prst="roundRect">
            <a:avLst>
              <a:gd name="adj" fmla="val 339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11" name="subtitle">
            <a:extLst>
              <a:ext uri="{FF2B5EF4-FFF2-40B4-BE49-F238E27FC236}">
                <a16:creationId xmlns:a16="http://schemas.microsoft.com/office/drawing/2014/main" id="{EE4F1825-9269-3164-D5CF-9080D1FE03C3}"/>
              </a:ext>
            </a:extLst>
          </p:cNvPr>
          <p:cNvSpPr>
            <a:spLocks noGrp="1"/>
          </p:cNvSpPr>
          <p:nvPr>
            <p:ph type="body" idx="13"/>
          </p:nvPr>
        </p:nvSpPr>
        <p:spPr>
          <a:xfrm>
            <a:off x="539999" y="3148551"/>
            <a:ext cx="2520000" cy="3007450"/>
          </a:xfrm>
          <a:noFill/>
        </p:spPr>
        <p:txBody>
          <a:bodyPr vert="horz" lIns="0" tIns="0" rIns="0" bIns="0" rtlCol="0" anchor="t">
            <a:noAutofit/>
          </a:bodyPr>
          <a:lstStyle>
            <a:lvl1pPr>
              <a:lnSpc>
                <a:spcPts val="3000"/>
              </a:lnSpc>
              <a:spcAft>
                <a:spcPts val="0"/>
              </a:spcAft>
              <a:defRPr lang="en-US" sz="2400" spc="0" baseline="0" dirty="0">
                <a:solidFill>
                  <a:schemeClr val="tx1"/>
                </a:solidFill>
                <a:latin typeface="+mn-lt"/>
                <a:ea typeface="Segoe UI Black" panose="020B0A02040204020203" pitchFamily="34" charset="0"/>
                <a:cs typeface="Segoe UI Light" panose="020B0502040204020203" pitchFamily="34" charset="0"/>
              </a:defRPr>
            </a:lvl1pPr>
          </a:lstStyle>
          <a:p>
            <a:pPr lvl="0">
              <a:lnSpc>
                <a:spcPts val="2800"/>
              </a:lnSpc>
              <a:spcBef>
                <a:spcPct val="0"/>
              </a:spcBef>
              <a:tabLst>
                <a:tab pos="10760075" algn="r"/>
              </a:tabLst>
            </a:pPr>
            <a:r>
              <a:rPr lang="de-DE"/>
              <a:t>Mastertextformat bearbeiten</a:t>
            </a:r>
          </a:p>
        </p:txBody>
      </p:sp>
      <p:sp>
        <p:nvSpPr>
          <p:cNvPr id="16" name="title">
            <a:extLst>
              <a:ext uri="{FF2B5EF4-FFF2-40B4-BE49-F238E27FC236}">
                <a16:creationId xmlns:a16="http://schemas.microsoft.com/office/drawing/2014/main" id="{E54BCACE-F7FE-E7F5-8B89-3D95049EA30D}"/>
              </a:ext>
            </a:extLst>
          </p:cNvPr>
          <p:cNvSpPr>
            <a:spLocks noGrp="1"/>
          </p:cNvSpPr>
          <p:nvPr>
            <p:ph type="title"/>
          </p:nvPr>
        </p:nvSpPr>
        <p:spPr>
          <a:xfrm>
            <a:off x="540000" y="620713"/>
            <a:ext cx="2519999" cy="2508985"/>
          </a:xfrm>
        </p:spPr>
        <p:txBody>
          <a:bodyPr vert="horz" anchor="b"/>
          <a:lstStyle/>
          <a:p>
            <a:r>
              <a:rPr lang="de-DE"/>
              <a:t>Mastertitelformat bearbeiten</a:t>
            </a:r>
            <a:endParaRPr lang="en-US" dirty="0"/>
          </a:p>
        </p:txBody>
      </p:sp>
      <p:sp>
        <p:nvSpPr>
          <p:cNvPr id="2" name="navigation">
            <a:extLst>
              <a:ext uri="{FF2B5EF4-FFF2-40B4-BE49-F238E27FC236}">
                <a16:creationId xmlns:a16="http://schemas.microsoft.com/office/drawing/2014/main" id="{AD6AF56D-58A3-40A6-7508-E3363684801A}"/>
              </a:ext>
            </a:extLst>
          </p:cNvPr>
          <p:cNvSpPr>
            <a:spLocks noGrp="1"/>
          </p:cNvSpPr>
          <p:nvPr>
            <p:ph type="body" sz="quarter" idx="14"/>
          </p:nvPr>
        </p:nvSpPr>
        <p:spPr>
          <a:xfrm>
            <a:off x="576000" y="396000"/>
            <a:ext cx="252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033520151"/>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  018b : 3 pictures sqare : 3 texts">
    <p:spTree>
      <p:nvGrpSpPr>
        <p:cNvPr id="1" name=""/>
        <p:cNvGrpSpPr/>
        <p:nvPr/>
      </p:nvGrpSpPr>
      <p:grpSpPr>
        <a:xfrm>
          <a:off x="0" y="0"/>
          <a:ext cx="0" cy="0"/>
          <a:chOff x="0" y="0"/>
          <a:chExt cx="0" cy="0"/>
        </a:xfrm>
      </p:grpSpPr>
      <p:sp>
        <p:nvSpPr>
          <p:cNvPr id="10" name="slide number">
            <a:extLst>
              <a:ext uri="{FF2B5EF4-FFF2-40B4-BE49-F238E27FC236}">
                <a16:creationId xmlns:a16="http://schemas.microsoft.com/office/drawing/2014/main" id="{806DED45-4BC7-C6F5-F26F-6CD59EA5B6A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B32839BA-2D56-A01B-FE5C-F161B633535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9" name="date">
            <a:extLst>
              <a:ext uri="{FF2B5EF4-FFF2-40B4-BE49-F238E27FC236}">
                <a16:creationId xmlns:a16="http://schemas.microsoft.com/office/drawing/2014/main" id="{50109232-4643-9278-B176-335653E00909}"/>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3" name="text 3">
            <a:extLst>
              <a:ext uri="{FF2B5EF4-FFF2-40B4-BE49-F238E27FC236}">
                <a16:creationId xmlns:a16="http://schemas.microsoft.com/office/drawing/2014/main" id="{922FD02A-6203-52CA-225A-E7F36E0C9777}"/>
              </a:ext>
            </a:extLst>
          </p:cNvPr>
          <p:cNvSpPr>
            <a:spLocks noGrp="1"/>
          </p:cNvSpPr>
          <p:nvPr>
            <p:ph type="body" sz="quarter" idx="26"/>
          </p:nvPr>
        </p:nvSpPr>
        <p:spPr>
          <a:xfrm>
            <a:off x="8182913" y="4176000"/>
            <a:ext cx="3456000" cy="1980000"/>
          </a:xfrm>
          <a:noFill/>
        </p:spPr>
        <p:txBody>
          <a:bodyPr vert="horz" lIns="0" tIns="0" rIns="0" bIns="0" rtlCol="0">
            <a:noAutofit/>
          </a:bodyPr>
          <a:lstStyle>
            <a:lvl1pPr>
              <a:spcBef>
                <a:spcPts val="600"/>
              </a:spcBef>
              <a:defRPr lang="en-US" smtClean="0"/>
            </a:lvl1pPr>
            <a:lvl2pPr>
              <a:defRPr lang="en-US" smtClean="0"/>
            </a:lvl2pPr>
            <a:lvl3pPr>
              <a:defRPr lang="en-US" smtClean="0"/>
            </a:lvl3pPr>
            <a:lvl4pPr>
              <a:defRPr lang="en-US" smtClean="0"/>
            </a:lvl4pPr>
            <a:lvl5pPr>
              <a:defRPr lang="en-US"/>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picture 3">
            <a:extLst>
              <a:ext uri="{FF2B5EF4-FFF2-40B4-BE49-F238E27FC236}">
                <a16:creationId xmlns:a16="http://schemas.microsoft.com/office/drawing/2014/main" id="{9FF70640-2E25-EBCF-C164-4D8776EDCC0B}"/>
              </a:ext>
            </a:extLst>
          </p:cNvPr>
          <p:cNvSpPr>
            <a:spLocks noGrp="1"/>
          </p:cNvSpPr>
          <p:nvPr>
            <p:ph type="pic" sz="quarter" idx="23"/>
          </p:nvPr>
        </p:nvSpPr>
        <p:spPr>
          <a:xfrm>
            <a:off x="8182913" y="1980000"/>
            <a:ext cx="3456000" cy="2052000"/>
          </a:xfrm>
          <a:prstGeom prst="round2SameRect">
            <a:avLst>
              <a:gd name="adj1" fmla="val 4811"/>
              <a:gd name="adj2" fmla="val 0"/>
            </a:avLst>
          </a:prstGeom>
          <a:solidFill>
            <a:schemeClr val="bg1"/>
          </a:solidFill>
          <a:effectLst/>
        </p:spPr>
        <p:txBody>
          <a:bodyPr/>
          <a:lstStyle>
            <a:lvl1pPr>
              <a:defRPr lang="en-DE" dirty="0"/>
            </a:lvl1pPr>
          </a:lstStyle>
          <a:p>
            <a:r>
              <a:rPr lang="de-DE"/>
              <a:t>Bild durch Klicken auf Symbol hinzufügen</a:t>
            </a:r>
            <a:endParaRPr lang="en-DE" dirty="0"/>
          </a:p>
        </p:txBody>
      </p:sp>
      <p:sp>
        <p:nvSpPr>
          <p:cNvPr id="2" name="name 3">
            <a:extLst>
              <a:ext uri="{FF2B5EF4-FFF2-40B4-BE49-F238E27FC236}">
                <a16:creationId xmlns:a16="http://schemas.microsoft.com/office/drawing/2014/main" id="{2033DDBB-2B0E-458B-10EE-E156E7DE26D3}"/>
              </a:ext>
            </a:extLst>
          </p:cNvPr>
          <p:cNvSpPr>
            <a:spLocks noGrp="1"/>
          </p:cNvSpPr>
          <p:nvPr>
            <p:ph type="body" idx="49"/>
          </p:nvPr>
        </p:nvSpPr>
        <p:spPr>
          <a:xfrm>
            <a:off x="8182911" y="1512000"/>
            <a:ext cx="3456000" cy="360000"/>
          </a:xfrm>
        </p:spPr>
        <p:txBody>
          <a:bodyPr lIns="0" rIns="0" anchor="b" anchorCtr="0"/>
          <a:lstStyle>
            <a:lvl1pPr marL="0" indent="0" algn="l">
              <a:lnSpc>
                <a:spcPts val="1600"/>
              </a:lnSpc>
              <a:spcBef>
                <a:spcPts val="0"/>
              </a:spcBef>
              <a:spcAft>
                <a:spcPts val="0"/>
              </a:spcAft>
              <a:buNone/>
              <a:defRPr lang="en-US" sz="1200" b="0" kern="1200" cap="all" spc="100" baseline="0" noProof="0">
                <a:solidFill>
                  <a:schemeClr val="tx2"/>
                </a:solidFill>
                <a:latin typeface="Segoe UI Semibold" panose="020B0702040204020203" pitchFamily="34" charset="0"/>
                <a:ea typeface="+mn-ea"/>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400"/>
              </a:lnSpc>
              <a:spcBef>
                <a:spcPts val="0"/>
              </a:spcBef>
              <a:spcAft>
                <a:spcPts val="0"/>
              </a:spcAft>
              <a:buClr>
                <a:schemeClr val="accent2"/>
              </a:buClr>
              <a:buSzPct val="100000"/>
              <a:buFont typeface="Verdana" panose="020B0604030504040204" pitchFamily="34" charset="0"/>
              <a:buNone/>
              <a:tabLst>
                <a:tab pos="182563" algn="l"/>
              </a:tabLst>
            </a:pPr>
            <a:r>
              <a:rPr lang="de-DE"/>
              <a:t>Mastertextformat bearbeiten</a:t>
            </a:r>
          </a:p>
        </p:txBody>
      </p:sp>
      <p:sp>
        <p:nvSpPr>
          <p:cNvPr id="22" name="text 2">
            <a:extLst>
              <a:ext uri="{FF2B5EF4-FFF2-40B4-BE49-F238E27FC236}">
                <a16:creationId xmlns:a16="http://schemas.microsoft.com/office/drawing/2014/main" id="{47A720F8-6495-0A90-0B2B-96D743618C54}"/>
              </a:ext>
            </a:extLst>
          </p:cNvPr>
          <p:cNvSpPr>
            <a:spLocks noGrp="1"/>
          </p:cNvSpPr>
          <p:nvPr>
            <p:ph type="body" sz="quarter" idx="25"/>
          </p:nvPr>
        </p:nvSpPr>
        <p:spPr>
          <a:xfrm>
            <a:off x="4372087" y="4176000"/>
            <a:ext cx="3456000" cy="1980000"/>
          </a:xfrm>
        </p:spPr>
        <p:txBody>
          <a:bodyPr/>
          <a:lstStyle>
            <a:lvl1pPr>
              <a:spcBef>
                <a:spcPts val="600"/>
              </a:spcBef>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3" name="picture 2">
            <a:extLst>
              <a:ext uri="{FF2B5EF4-FFF2-40B4-BE49-F238E27FC236}">
                <a16:creationId xmlns:a16="http://schemas.microsoft.com/office/drawing/2014/main" id="{55B5AD6C-F5DC-9656-D99B-A67A0B7E5052}"/>
              </a:ext>
            </a:extLst>
          </p:cNvPr>
          <p:cNvSpPr>
            <a:spLocks noGrp="1"/>
          </p:cNvSpPr>
          <p:nvPr>
            <p:ph type="pic" sz="quarter" idx="22"/>
          </p:nvPr>
        </p:nvSpPr>
        <p:spPr>
          <a:xfrm>
            <a:off x="4372087" y="1980000"/>
            <a:ext cx="3456000" cy="2052000"/>
          </a:xfrm>
          <a:prstGeom prst="round2SameRect">
            <a:avLst>
              <a:gd name="adj1" fmla="val 4811"/>
              <a:gd name="adj2" fmla="val 0"/>
            </a:avLst>
          </a:prstGeom>
          <a:solidFill>
            <a:schemeClr val="bg1"/>
          </a:solidFill>
          <a:effectLst/>
        </p:spPr>
        <p:txBody>
          <a:bodyPr/>
          <a:lstStyle>
            <a:lvl1pPr>
              <a:defRPr lang="en-DE" dirty="0"/>
            </a:lvl1pPr>
          </a:lstStyle>
          <a:p>
            <a:r>
              <a:rPr lang="de-DE"/>
              <a:t>Bild durch Klicken auf Symbol hinzufügen</a:t>
            </a:r>
            <a:endParaRPr lang="en-DE" dirty="0"/>
          </a:p>
        </p:txBody>
      </p:sp>
      <p:sp>
        <p:nvSpPr>
          <p:cNvPr id="3" name="name 2">
            <a:extLst>
              <a:ext uri="{FF2B5EF4-FFF2-40B4-BE49-F238E27FC236}">
                <a16:creationId xmlns:a16="http://schemas.microsoft.com/office/drawing/2014/main" id="{843833B8-0DB0-55DA-F1C7-E7F79792FF2A}"/>
              </a:ext>
            </a:extLst>
          </p:cNvPr>
          <p:cNvSpPr>
            <a:spLocks noGrp="1"/>
          </p:cNvSpPr>
          <p:nvPr>
            <p:ph type="body" idx="50"/>
          </p:nvPr>
        </p:nvSpPr>
        <p:spPr>
          <a:xfrm>
            <a:off x="4361454" y="1512000"/>
            <a:ext cx="3456000" cy="360000"/>
          </a:xfrm>
        </p:spPr>
        <p:txBody>
          <a:bodyPr lIns="0" rIns="0" anchor="b" anchorCtr="0"/>
          <a:lstStyle>
            <a:lvl1pPr marL="0" indent="0" algn="l">
              <a:lnSpc>
                <a:spcPts val="1600"/>
              </a:lnSpc>
              <a:spcBef>
                <a:spcPts val="0"/>
              </a:spcBef>
              <a:spcAft>
                <a:spcPts val="0"/>
              </a:spcAft>
              <a:buNone/>
              <a:defRPr lang="en-US" sz="1200" b="0" kern="1200" cap="all" spc="100" baseline="0" noProof="0">
                <a:solidFill>
                  <a:schemeClr val="tx2"/>
                </a:solidFill>
                <a:latin typeface="Segoe UI Semibold" panose="020B0702040204020203" pitchFamily="34" charset="0"/>
                <a:ea typeface="+mn-ea"/>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400"/>
              </a:lnSpc>
              <a:spcBef>
                <a:spcPts val="0"/>
              </a:spcBef>
              <a:spcAft>
                <a:spcPts val="0"/>
              </a:spcAft>
              <a:buClr>
                <a:schemeClr val="accent2"/>
              </a:buClr>
              <a:buSzPct val="100000"/>
              <a:buFont typeface="Verdana" panose="020B0604030504040204" pitchFamily="34" charset="0"/>
              <a:buNone/>
              <a:tabLst>
                <a:tab pos="182563" algn="l"/>
              </a:tabLst>
            </a:pPr>
            <a:r>
              <a:rPr lang="de-DE"/>
              <a:t>Mastertextformat bearbeiten</a:t>
            </a:r>
          </a:p>
        </p:txBody>
      </p:sp>
      <p:sp>
        <p:nvSpPr>
          <p:cNvPr id="21" name="text 1">
            <a:extLst>
              <a:ext uri="{FF2B5EF4-FFF2-40B4-BE49-F238E27FC236}">
                <a16:creationId xmlns:a16="http://schemas.microsoft.com/office/drawing/2014/main" id="{1BF1AC36-FCCB-7183-0800-6570315803F5}"/>
              </a:ext>
            </a:extLst>
          </p:cNvPr>
          <p:cNvSpPr>
            <a:spLocks noGrp="1"/>
          </p:cNvSpPr>
          <p:nvPr>
            <p:ph type="body" sz="quarter" idx="24"/>
          </p:nvPr>
        </p:nvSpPr>
        <p:spPr>
          <a:xfrm>
            <a:off x="557012" y="4176000"/>
            <a:ext cx="3456000" cy="1980000"/>
          </a:xfrm>
        </p:spPr>
        <p:txBody>
          <a:bodyPr/>
          <a:lstStyle>
            <a:lvl1pPr>
              <a:spcBef>
                <a:spcPts val="600"/>
              </a:spcBef>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1" name="picture 1">
            <a:extLst>
              <a:ext uri="{FF2B5EF4-FFF2-40B4-BE49-F238E27FC236}">
                <a16:creationId xmlns:a16="http://schemas.microsoft.com/office/drawing/2014/main" id="{48BC97E5-F4FC-CFC7-7C93-504C59D7A2BF}"/>
              </a:ext>
            </a:extLst>
          </p:cNvPr>
          <p:cNvSpPr>
            <a:spLocks noGrp="1"/>
          </p:cNvSpPr>
          <p:nvPr>
            <p:ph type="pic" sz="quarter" idx="21"/>
          </p:nvPr>
        </p:nvSpPr>
        <p:spPr>
          <a:xfrm>
            <a:off x="557012" y="1980000"/>
            <a:ext cx="3456000" cy="2052000"/>
          </a:xfrm>
          <a:prstGeom prst="round2SameRect">
            <a:avLst>
              <a:gd name="adj1" fmla="val 4811"/>
              <a:gd name="adj2" fmla="val 0"/>
            </a:avLst>
          </a:prstGeom>
          <a:solidFill>
            <a:schemeClr val="bg1"/>
          </a:solidFill>
          <a:effectLst/>
        </p:spPr>
        <p:txBody>
          <a:bodyPr/>
          <a:lstStyle>
            <a:lvl1pPr>
              <a:defRPr lang="en-DE" dirty="0"/>
            </a:lvl1pPr>
          </a:lstStyle>
          <a:p>
            <a:r>
              <a:rPr lang="de-DE"/>
              <a:t>Bild durch Klicken auf Symbol hinzufügen</a:t>
            </a:r>
            <a:endParaRPr lang="en-DE" dirty="0"/>
          </a:p>
        </p:txBody>
      </p:sp>
      <p:sp>
        <p:nvSpPr>
          <p:cNvPr id="5" name="name 1">
            <a:extLst>
              <a:ext uri="{FF2B5EF4-FFF2-40B4-BE49-F238E27FC236}">
                <a16:creationId xmlns:a16="http://schemas.microsoft.com/office/drawing/2014/main" id="{B0E966B6-2B9A-56EB-46A3-E08F077C0420}"/>
              </a:ext>
            </a:extLst>
          </p:cNvPr>
          <p:cNvSpPr>
            <a:spLocks noGrp="1"/>
          </p:cNvSpPr>
          <p:nvPr>
            <p:ph type="body" idx="51"/>
          </p:nvPr>
        </p:nvSpPr>
        <p:spPr>
          <a:xfrm>
            <a:off x="539998" y="1512000"/>
            <a:ext cx="3456000" cy="360000"/>
          </a:xfrm>
        </p:spPr>
        <p:txBody>
          <a:bodyPr lIns="0" rIns="0" anchor="b" anchorCtr="0"/>
          <a:lstStyle>
            <a:lvl1pPr marL="0" indent="0" algn="l">
              <a:lnSpc>
                <a:spcPts val="1600"/>
              </a:lnSpc>
              <a:spcBef>
                <a:spcPts val="0"/>
              </a:spcBef>
              <a:spcAft>
                <a:spcPts val="0"/>
              </a:spcAft>
              <a:buNone/>
              <a:defRPr sz="1200" b="0" cap="all" spc="100" baseline="0">
                <a:solidFill>
                  <a:schemeClr val="tx2"/>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86" name="title">
            <a:extLst>
              <a:ext uri="{FF2B5EF4-FFF2-40B4-BE49-F238E27FC236}">
                <a16:creationId xmlns:a16="http://schemas.microsoft.com/office/drawing/2014/main" id="{457734AF-380A-E58A-7517-29028ECFA967}"/>
              </a:ext>
            </a:extLst>
          </p:cNvPr>
          <p:cNvSpPr>
            <a:spLocks noGrp="1"/>
          </p:cNvSpPr>
          <p:nvPr>
            <p:ph type="title" hasCustomPrompt="1"/>
          </p:nvPr>
        </p:nvSpPr>
        <p:spPr/>
        <p:txBody>
          <a:bodyPr vert="horz"/>
          <a:lstStyle/>
          <a:p>
            <a:r>
              <a:rPr lang="en-US"/>
              <a:t>Click to edit Master title style</a:t>
            </a:r>
            <a:endParaRPr lang="en-US" dirty="0"/>
          </a:p>
        </p:txBody>
      </p:sp>
      <p:sp>
        <p:nvSpPr>
          <p:cNvPr id="4" name="navigation">
            <a:extLst>
              <a:ext uri="{FF2B5EF4-FFF2-40B4-BE49-F238E27FC236}">
                <a16:creationId xmlns:a16="http://schemas.microsoft.com/office/drawing/2014/main" id="{3CCF9C9E-CC68-9C72-1637-DC78701B6BD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9921351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  019 : 4 pictures top : 4 contents">
    <p:spTree>
      <p:nvGrpSpPr>
        <p:cNvPr id="1" name=""/>
        <p:cNvGrpSpPr/>
        <p:nvPr/>
      </p:nvGrpSpPr>
      <p:grpSpPr>
        <a:xfrm>
          <a:off x="0" y="0"/>
          <a:ext cx="0" cy="0"/>
          <a:chOff x="0" y="0"/>
          <a:chExt cx="0" cy="0"/>
        </a:xfrm>
      </p:grpSpPr>
      <p:sp>
        <p:nvSpPr>
          <p:cNvPr id="17" name="slide number">
            <a:extLst>
              <a:ext uri="{FF2B5EF4-FFF2-40B4-BE49-F238E27FC236}">
                <a16:creationId xmlns:a16="http://schemas.microsoft.com/office/drawing/2014/main" id="{63D2B20F-0609-55E7-7FB3-B5EE7402F6E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8" name="footer">
            <a:extLst>
              <a:ext uri="{FF2B5EF4-FFF2-40B4-BE49-F238E27FC236}">
                <a16:creationId xmlns:a16="http://schemas.microsoft.com/office/drawing/2014/main" id="{15CFD07B-B345-C5CF-102F-714DA927D2CC}"/>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9" name="date">
            <a:extLst>
              <a:ext uri="{FF2B5EF4-FFF2-40B4-BE49-F238E27FC236}">
                <a16:creationId xmlns:a16="http://schemas.microsoft.com/office/drawing/2014/main" id="{629EB2D1-84A0-2CF1-B415-FC5E5FD76E1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4" name="content 4">
            <a:extLst>
              <a:ext uri="{FF2B5EF4-FFF2-40B4-BE49-F238E27FC236}">
                <a16:creationId xmlns:a16="http://schemas.microsoft.com/office/drawing/2014/main" id="{BAD52ADE-440B-F73C-8384-4062C1392FE1}"/>
              </a:ext>
            </a:extLst>
          </p:cNvPr>
          <p:cNvSpPr>
            <a:spLocks noGrp="1"/>
          </p:cNvSpPr>
          <p:nvPr>
            <p:ph sz="quarter" idx="20"/>
          </p:nvPr>
        </p:nvSpPr>
        <p:spPr>
          <a:xfrm>
            <a:off x="9108292" y="3176472"/>
            <a:ext cx="2520000" cy="298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p:txBody>
      </p:sp>
      <p:sp>
        <p:nvSpPr>
          <p:cNvPr id="20" name="picture 4">
            <a:extLst>
              <a:ext uri="{FF2B5EF4-FFF2-40B4-BE49-F238E27FC236}">
                <a16:creationId xmlns:a16="http://schemas.microsoft.com/office/drawing/2014/main" id="{16D161C1-5395-1A70-B6E9-DDB636142C18}"/>
              </a:ext>
            </a:extLst>
          </p:cNvPr>
          <p:cNvSpPr>
            <a:spLocks noGrp="1"/>
          </p:cNvSpPr>
          <p:nvPr>
            <p:ph type="pic" sz="quarter" idx="18"/>
          </p:nvPr>
        </p:nvSpPr>
        <p:spPr>
          <a:xfrm>
            <a:off x="9108292" y="1476000"/>
            <a:ext cx="2520000" cy="1440000"/>
          </a:xfrm>
          <a:prstGeom prst="roundRect">
            <a:avLst>
              <a:gd name="adj" fmla="val 4941"/>
            </a:avLst>
          </a:prstGeom>
          <a:solidFill>
            <a:schemeClr val="bg1"/>
          </a:solidFill>
          <a:effectLst/>
        </p:spPr>
        <p:txBody>
          <a:bodyPr/>
          <a:lstStyle/>
          <a:p>
            <a:r>
              <a:rPr lang="de-DE"/>
              <a:t>Bild durch Klicken auf Symbol hinzufügen</a:t>
            </a:r>
            <a:endParaRPr lang="en-DE" dirty="0"/>
          </a:p>
        </p:txBody>
      </p:sp>
      <p:sp>
        <p:nvSpPr>
          <p:cNvPr id="23" name="content 3">
            <a:extLst>
              <a:ext uri="{FF2B5EF4-FFF2-40B4-BE49-F238E27FC236}">
                <a16:creationId xmlns:a16="http://schemas.microsoft.com/office/drawing/2014/main" id="{36EDB524-3828-3196-B148-EA4D6A28C4CA}"/>
              </a:ext>
            </a:extLst>
          </p:cNvPr>
          <p:cNvSpPr>
            <a:spLocks noGrp="1"/>
          </p:cNvSpPr>
          <p:nvPr>
            <p:ph sz="quarter" idx="19"/>
          </p:nvPr>
        </p:nvSpPr>
        <p:spPr>
          <a:xfrm>
            <a:off x="6260098" y="3176472"/>
            <a:ext cx="2520000" cy="298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p:txBody>
      </p:sp>
      <p:sp>
        <p:nvSpPr>
          <p:cNvPr id="3" name="picture 3">
            <a:extLst>
              <a:ext uri="{FF2B5EF4-FFF2-40B4-BE49-F238E27FC236}">
                <a16:creationId xmlns:a16="http://schemas.microsoft.com/office/drawing/2014/main" id="{1D0F5D2A-81FE-3833-2907-78B51B326DF1}"/>
              </a:ext>
            </a:extLst>
          </p:cNvPr>
          <p:cNvSpPr>
            <a:spLocks noGrp="1"/>
          </p:cNvSpPr>
          <p:nvPr>
            <p:ph type="pic" sz="quarter" idx="16"/>
          </p:nvPr>
        </p:nvSpPr>
        <p:spPr>
          <a:xfrm>
            <a:off x="6252194" y="1476000"/>
            <a:ext cx="2520000" cy="1440000"/>
          </a:xfrm>
          <a:prstGeom prst="roundRect">
            <a:avLst>
              <a:gd name="adj" fmla="val 4941"/>
            </a:avLst>
          </a:prstGeom>
          <a:solidFill>
            <a:schemeClr val="bg1"/>
          </a:solidFill>
          <a:effectLst/>
        </p:spPr>
        <p:txBody>
          <a:bodyPr/>
          <a:lstStyle/>
          <a:p>
            <a:r>
              <a:rPr lang="de-DE"/>
              <a:t>Bild durch Klicken auf Symbol hinzufügen</a:t>
            </a:r>
            <a:endParaRPr lang="en-DE" dirty="0"/>
          </a:p>
        </p:txBody>
      </p:sp>
      <p:sp>
        <p:nvSpPr>
          <p:cNvPr id="14" name="content 2">
            <a:extLst>
              <a:ext uri="{FF2B5EF4-FFF2-40B4-BE49-F238E27FC236}">
                <a16:creationId xmlns:a16="http://schemas.microsoft.com/office/drawing/2014/main" id="{438C11ED-D1E2-4D8E-7E92-53DCAC4E4BB0}"/>
              </a:ext>
            </a:extLst>
          </p:cNvPr>
          <p:cNvSpPr>
            <a:spLocks noGrp="1"/>
          </p:cNvSpPr>
          <p:nvPr>
            <p:ph sz="quarter" idx="15"/>
          </p:nvPr>
        </p:nvSpPr>
        <p:spPr>
          <a:xfrm>
            <a:off x="3411904" y="3176472"/>
            <a:ext cx="2520000" cy="298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p:txBody>
      </p:sp>
      <p:sp>
        <p:nvSpPr>
          <p:cNvPr id="4" name="picture 2">
            <a:extLst>
              <a:ext uri="{FF2B5EF4-FFF2-40B4-BE49-F238E27FC236}">
                <a16:creationId xmlns:a16="http://schemas.microsoft.com/office/drawing/2014/main" id="{9DC2B4CA-1091-CD31-C625-B499A7922DF0}"/>
              </a:ext>
            </a:extLst>
          </p:cNvPr>
          <p:cNvSpPr>
            <a:spLocks noGrp="1"/>
          </p:cNvSpPr>
          <p:nvPr>
            <p:ph type="pic" sz="quarter" idx="17"/>
          </p:nvPr>
        </p:nvSpPr>
        <p:spPr>
          <a:xfrm>
            <a:off x="3396097" y="1476000"/>
            <a:ext cx="2520000" cy="1440000"/>
          </a:xfrm>
          <a:prstGeom prst="roundRect">
            <a:avLst>
              <a:gd name="adj" fmla="val 4647"/>
            </a:avLst>
          </a:prstGeom>
          <a:solidFill>
            <a:schemeClr val="bg1"/>
          </a:solidFill>
          <a:effectLst/>
        </p:spPr>
        <p:txBody>
          <a:bodyPr/>
          <a:lstStyle/>
          <a:p>
            <a:r>
              <a:rPr lang="de-DE"/>
              <a:t>Bild durch Klicken auf Symbol hinzufügen</a:t>
            </a:r>
            <a:endParaRPr lang="en-DE" dirty="0"/>
          </a:p>
        </p:txBody>
      </p:sp>
      <p:sp>
        <p:nvSpPr>
          <p:cNvPr id="10" name="content 1">
            <a:extLst>
              <a:ext uri="{FF2B5EF4-FFF2-40B4-BE49-F238E27FC236}">
                <a16:creationId xmlns:a16="http://schemas.microsoft.com/office/drawing/2014/main" id="{40482FD8-4BA0-D9DD-B70D-CF60E58832EB}"/>
              </a:ext>
            </a:extLst>
          </p:cNvPr>
          <p:cNvSpPr>
            <a:spLocks noGrp="1"/>
          </p:cNvSpPr>
          <p:nvPr>
            <p:ph sz="quarter" idx="21"/>
          </p:nvPr>
        </p:nvSpPr>
        <p:spPr>
          <a:xfrm>
            <a:off x="563710" y="3176472"/>
            <a:ext cx="2520000" cy="298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p:txBody>
      </p:sp>
      <p:sp>
        <p:nvSpPr>
          <p:cNvPr id="12" name="picture 1">
            <a:extLst>
              <a:ext uri="{FF2B5EF4-FFF2-40B4-BE49-F238E27FC236}">
                <a16:creationId xmlns:a16="http://schemas.microsoft.com/office/drawing/2014/main" id="{6D4F5E74-E4BC-26A1-6B3C-B5941695269D}"/>
              </a:ext>
            </a:extLst>
          </p:cNvPr>
          <p:cNvSpPr>
            <a:spLocks noGrp="1"/>
          </p:cNvSpPr>
          <p:nvPr>
            <p:ph type="pic" sz="quarter" idx="22"/>
          </p:nvPr>
        </p:nvSpPr>
        <p:spPr>
          <a:xfrm>
            <a:off x="540000" y="1476000"/>
            <a:ext cx="2520000" cy="1440000"/>
          </a:xfrm>
          <a:prstGeom prst="roundRect">
            <a:avLst>
              <a:gd name="adj" fmla="val 4895"/>
            </a:avLst>
          </a:prstGeom>
          <a:solidFill>
            <a:schemeClr val="bg1"/>
          </a:solidFill>
          <a:effectLst/>
        </p:spPr>
        <p:txBody>
          <a:bodyPr/>
          <a:lstStyle/>
          <a:p>
            <a:r>
              <a:rPr lang="de-DE"/>
              <a:t>Bild durch Klicken auf Symbol hinzufügen</a:t>
            </a:r>
            <a:endParaRPr lang="en-DE" dirty="0"/>
          </a:p>
        </p:txBody>
      </p:sp>
      <p:sp>
        <p:nvSpPr>
          <p:cNvPr id="2" name="title">
            <a:extLst>
              <a:ext uri="{FF2B5EF4-FFF2-40B4-BE49-F238E27FC236}">
                <a16:creationId xmlns:a16="http://schemas.microsoft.com/office/drawing/2014/main" id="{F3754094-CFF9-5176-ADA0-C7C302BF1F77}"/>
              </a:ext>
            </a:extLst>
          </p:cNvPr>
          <p:cNvSpPr>
            <a:spLocks noGrp="1"/>
          </p:cNvSpPr>
          <p:nvPr>
            <p:ph type="title"/>
          </p:nvPr>
        </p:nvSpPr>
        <p:spPr/>
        <p:txBody>
          <a:bodyPr vert="horz"/>
          <a:lstStyle/>
          <a:p>
            <a:r>
              <a:rPr lang="de-DE"/>
              <a:t>Mastertitelformat bearbeiten</a:t>
            </a:r>
            <a:endParaRPr lang="en-US"/>
          </a:p>
        </p:txBody>
      </p:sp>
      <p:sp>
        <p:nvSpPr>
          <p:cNvPr id="11" name="navigation">
            <a:extLst>
              <a:ext uri="{FF2B5EF4-FFF2-40B4-BE49-F238E27FC236}">
                <a16:creationId xmlns:a16="http://schemas.microsoft.com/office/drawing/2014/main" id="{285D18D8-AB0C-71A7-8522-08C65978C768}"/>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35509169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  020 : picture left : 4 textboxes right">
    <p:spTree>
      <p:nvGrpSpPr>
        <p:cNvPr id="1" name=""/>
        <p:cNvGrpSpPr/>
        <p:nvPr/>
      </p:nvGrpSpPr>
      <p:grpSpPr>
        <a:xfrm>
          <a:off x="0" y="0"/>
          <a:ext cx="0" cy="0"/>
          <a:chOff x="0" y="0"/>
          <a:chExt cx="0" cy="0"/>
        </a:xfrm>
      </p:grpSpPr>
      <p:sp>
        <p:nvSpPr>
          <p:cNvPr id="5" name="picture left 11cm">
            <a:extLst>
              <a:ext uri="{FF2B5EF4-FFF2-40B4-BE49-F238E27FC236}">
                <a16:creationId xmlns:a16="http://schemas.microsoft.com/office/drawing/2014/main" id="{74ED0BBF-0E8C-44D4-921F-066BA5C9B178}"/>
              </a:ext>
            </a:extLst>
          </p:cNvPr>
          <p:cNvSpPr>
            <a:spLocks noGrp="1"/>
          </p:cNvSpPr>
          <p:nvPr>
            <p:ph type="pic" sz="quarter" idx="10"/>
          </p:nvPr>
        </p:nvSpPr>
        <p:spPr>
          <a:xfrm>
            <a:off x="1" y="0"/>
            <a:ext cx="3960000" cy="6858000"/>
          </a:xfrm>
          <a:custGeom>
            <a:avLst/>
            <a:gdLst>
              <a:gd name="connsiteX0" fmla="*/ 0 w 4370389"/>
              <a:gd name="connsiteY0" fmla="*/ 0 h 6858000"/>
              <a:gd name="connsiteX1" fmla="*/ 4370389 w 4370389"/>
              <a:gd name="connsiteY1" fmla="*/ 0 h 6858000"/>
              <a:gd name="connsiteX2" fmla="*/ 4370389 w 4370389"/>
              <a:gd name="connsiteY2" fmla="*/ 6858000 h 6858000"/>
              <a:gd name="connsiteX3" fmla="*/ 0 w 43703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9" h="6858000">
                <a:moveTo>
                  <a:pt x="0" y="0"/>
                </a:moveTo>
                <a:lnTo>
                  <a:pt x="4370389" y="0"/>
                </a:lnTo>
                <a:lnTo>
                  <a:pt x="437038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dirty="0"/>
          </a:p>
        </p:txBody>
      </p:sp>
      <p:sp>
        <p:nvSpPr>
          <p:cNvPr id="8" name="logo placeholder">
            <a:extLst>
              <a:ext uri="{FF2B5EF4-FFF2-40B4-BE49-F238E27FC236}">
                <a16:creationId xmlns:a16="http://schemas.microsoft.com/office/drawing/2014/main" id="{1F75B0BC-6C5A-1CD1-854C-F1D8676D772A}"/>
              </a:ext>
            </a:extLst>
          </p:cNvPr>
          <p:cNvSpPr>
            <a:spLocks noGrp="1"/>
          </p:cNvSpPr>
          <p:nvPr>
            <p:ph type="pic" sz="quarter" idx="24"/>
          </p:nvPr>
        </p:nvSpPr>
        <p:spPr>
          <a:xfrm>
            <a:off x="415887" y="6218848"/>
            <a:ext cx="1169231" cy="450666"/>
          </a:xfrm>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Bild durch Klicken auf Symbol hinzufügen</a:t>
            </a:r>
            <a:endParaRPr lang="en-US" dirty="0"/>
          </a:p>
        </p:txBody>
      </p:sp>
      <p:sp>
        <p:nvSpPr>
          <p:cNvPr id="16" name="slide number">
            <a:extLst>
              <a:ext uri="{FF2B5EF4-FFF2-40B4-BE49-F238E27FC236}">
                <a16:creationId xmlns:a16="http://schemas.microsoft.com/office/drawing/2014/main" id="{BEB57DBE-63B8-E581-3096-F2652E6BC47E}"/>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9" name="footer">
            <a:extLst>
              <a:ext uri="{FF2B5EF4-FFF2-40B4-BE49-F238E27FC236}">
                <a16:creationId xmlns:a16="http://schemas.microsoft.com/office/drawing/2014/main" id="{A0884F85-B37A-46FC-CACB-D048B0C1E020}"/>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20" name="date">
            <a:extLst>
              <a:ext uri="{FF2B5EF4-FFF2-40B4-BE49-F238E27FC236}">
                <a16:creationId xmlns:a16="http://schemas.microsoft.com/office/drawing/2014/main" id="{C36A1B14-05F1-8B1B-20DA-31A9A97A783F}"/>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5" name="text 4">
            <a:extLst>
              <a:ext uri="{FF2B5EF4-FFF2-40B4-BE49-F238E27FC236}">
                <a16:creationId xmlns:a16="http://schemas.microsoft.com/office/drawing/2014/main" id="{E318E77B-CFEA-5F69-2552-9B3EE92ACFFC}"/>
              </a:ext>
            </a:extLst>
          </p:cNvPr>
          <p:cNvSpPr>
            <a:spLocks noGrp="1"/>
          </p:cNvSpPr>
          <p:nvPr>
            <p:ph type="body" sz="quarter" idx="23"/>
          </p:nvPr>
        </p:nvSpPr>
        <p:spPr>
          <a:xfrm>
            <a:off x="8833138" y="4360863"/>
            <a:ext cx="2808000" cy="1800000"/>
          </a:xfrm>
          <a:noFill/>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4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p:txBody>
      </p:sp>
      <p:sp>
        <p:nvSpPr>
          <p:cNvPr id="18" name="text 3">
            <a:extLst>
              <a:ext uri="{FF2B5EF4-FFF2-40B4-BE49-F238E27FC236}">
                <a16:creationId xmlns:a16="http://schemas.microsoft.com/office/drawing/2014/main" id="{759DB7E1-A1AC-4FE8-5983-602E59EB1391}"/>
              </a:ext>
            </a:extLst>
          </p:cNvPr>
          <p:cNvSpPr>
            <a:spLocks noGrp="1"/>
          </p:cNvSpPr>
          <p:nvPr>
            <p:ph type="body" sz="quarter" idx="22"/>
          </p:nvPr>
        </p:nvSpPr>
        <p:spPr>
          <a:xfrm>
            <a:off x="5508000" y="4360863"/>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17" name="text 2">
            <a:extLst>
              <a:ext uri="{FF2B5EF4-FFF2-40B4-BE49-F238E27FC236}">
                <a16:creationId xmlns:a16="http://schemas.microsoft.com/office/drawing/2014/main" id="{CAE3D3F0-664E-ABBC-3640-50F182DB9BED}"/>
              </a:ext>
            </a:extLst>
          </p:cNvPr>
          <p:cNvSpPr>
            <a:spLocks noGrp="1"/>
          </p:cNvSpPr>
          <p:nvPr>
            <p:ph type="body" sz="quarter" idx="21"/>
          </p:nvPr>
        </p:nvSpPr>
        <p:spPr>
          <a:xfrm>
            <a:off x="8833138" y="1980000"/>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15" name="text 1">
            <a:extLst>
              <a:ext uri="{FF2B5EF4-FFF2-40B4-BE49-F238E27FC236}">
                <a16:creationId xmlns:a16="http://schemas.microsoft.com/office/drawing/2014/main" id="{0292821D-E361-102A-F29E-3F6CA54EC1E9}"/>
              </a:ext>
            </a:extLst>
          </p:cNvPr>
          <p:cNvSpPr>
            <a:spLocks noGrp="1"/>
          </p:cNvSpPr>
          <p:nvPr>
            <p:ph type="body" sz="quarter" idx="20"/>
          </p:nvPr>
        </p:nvSpPr>
        <p:spPr>
          <a:xfrm>
            <a:off x="5508000" y="1980000"/>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2" name="circle 1">
            <a:extLst>
              <a:ext uri="{FF2B5EF4-FFF2-40B4-BE49-F238E27FC236}">
                <a16:creationId xmlns:a16="http://schemas.microsoft.com/office/drawing/2014/main" id="{E5B88703-E9BF-0C2F-4269-A9F19C40121D}"/>
              </a:ext>
            </a:extLst>
          </p:cNvPr>
          <p:cNvSpPr>
            <a:spLocks noGrp="1"/>
          </p:cNvSpPr>
          <p:nvPr>
            <p:ph type="body" idx="1" hasCustomPrompt="1"/>
          </p:nvPr>
        </p:nvSpPr>
        <p:spPr>
          <a:xfrm>
            <a:off x="4289172" y="1044000"/>
            <a:ext cx="864000" cy="864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8" name="icon-placeholder">
            <a:extLst>
              <a:ext uri="{FF2B5EF4-FFF2-40B4-BE49-F238E27FC236}">
                <a16:creationId xmlns:a16="http://schemas.microsoft.com/office/drawing/2014/main" id="{7A046E54-CAF8-82C1-9111-5F55CCBA5509}"/>
              </a:ext>
            </a:extLst>
          </p:cNvPr>
          <p:cNvSpPr>
            <a:spLocks noGrp="1"/>
          </p:cNvSpPr>
          <p:nvPr>
            <p:ph sz="quarter" idx="19"/>
          </p:nvPr>
        </p:nvSpPr>
        <p:spPr>
          <a:xfrm>
            <a:off x="4505172" y="1260000"/>
            <a:ext cx="432000" cy="432000"/>
          </a:xfrm>
          <a:prstGeom prst="rect">
            <a:avLst/>
          </a:prstGeom>
        </p:spPr>
        <p:txBody>
          <a:bodyPr anchor="ctr"/>
          <a:lstStyle>
            <a:lvl1pPr algn="ctr">
              <a:defRPr>
                <a:solidFill>
                  <a:schemeClr val="bg1"/>
                </a:solidFill>
              </a:defRPr>
            </a:lvl1pPr>
          </a:lstStyle>
          <a:p>
            <a:pPr lvl="0"/>
            <a:r>
              <a:rPr lang="de-DE"/>
              <a:t>Mastertextformat bearbeiten</a:t>
            </a:r>
          </a:p>
        </p:txBody>
      </p:sp>
      <p:sp>
        <p:nvSpPr>
          <p:cNvPr id="7" name="title">
            <a:extLst>
              <a:ext uri="{FF2B5EF4-FFF2-40B4-BE49-F238E27FC236}">
                <a16:creationId xmlns:a16="http://schemas.microsoft.com/office/drawing/2014/main" id="{7A7461C7-A592-D8D9-0006-53F1781C658B}"/>
              </a:ext>
            </a:extLst>
          </p:cNvPr>
          <p:cNvSpPr>
            <a:spLocks noGrp="1"/>
          </p:cNvSpPr>
          <p:nvPr>
            <p:ph type="title"/>
          </p:nvPr>
        </p:nvSpPr>
        <p:spPr>
          <a:xfrm>
            <a:off x="5508000" y="622301"/>
            <a:ext cx="6120000" cy="648000"/>
          </a:xfrm>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C0586414-654D-FD5A-5B01-5890021AF44E}"/>
              </a:ext>
            </a:extLst>
          </p:cNvPr>
          <p:cNvSpPr>
            <a:spLocks noGrp="1"/>
          </p:cNvSpPr>
          <p:nvPr>
            <p:ph type="body" sz="quarter" idx="14"/>
          </p:nvPr>
        </p:nvSpPr>
        <p:spPr>
          <a:xfrm>
            <a:off x="5522103" y="396000"/>
            <a:ext cx="612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28704748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  021 : 4 textboxes left : picture right">
    <p:spTree>
      <p:nvGrpSpPr>
        <p:cNvPr id="1" name=""/>
        <p:cNvGrpSpPr/>
        <p:nvPr/>
      </p:nvGrpSpPr>
      <p:grpSpPr>
        <a:xfrm>
          <a:off x="0" y="0"/>
          <a:ext cx="0" cy="0"/>
          <a:chOff x="0" y="0"/>
          <a:chExt cx="0" cy="0"/>
        </a:xfrm>
      </p:grpSpPr>
      <p:sp>
        <p:nvSpPr>
          <p:cNvPr id="2" name="picture right 11cm">
            <a:extLst>
              <a:ext uri="{FF2B5EF4-FFF2-40B4-BE49-F238E27FC236}">
                <a16:creationId xmlns:a16="http://schemas.microsoft.com/office/drawing/2014/main" id="{A5FFCE91-6216-65F0-E99E-12B1B5E93609}"/>
              </a:ext>
            </a:extLst>
          </p:cNvPr>
          <p:cNvSpPr>
            <a:spLocks noGrp="1"/>
          </p:cNvSpPr>
          <p:nvPr>
            <p:ph type="pic" sz="quarter" idx="10"/>
          </p:nvPr>
        </p:nvSpPr>
        <p:spPr>
          <a:xfrm>
            <a:off x="8244000" y="0"/>
            <a:ext cx="3960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14" name="slide number">
            <a:extLst>
              <a:ext uri="{FF2B5EF4-FFF2-40B4-BE49-F238E27FC236}">
                <a16:creationId xmlns:a16="http://schemas.microsoft.com/office/drawing/2014/main" id="{61C22490-789B-BFF9-B222-ED971D27A779}"/>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6" name="footer">
            <a:extLst>
              <a:ext uri="{FF2B5EF4-FFF2-40B4-BE49-F238E27FC236}">
                <a16:creationId xmlns:a16="http://schemas.microsoft.com/office/drawing/2014/main" id="{DBF89A56-A523-E8FD-12B8-C64B68EC9D6A}"/>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9" name="date">
            <a:extLst>
              <a:ext uri="{FF2B5EF4-FFF2-40B4-BE49-F238E27FC236}">
                <a16:creationId xmlns:a16="http://schemas.microsoft.com/office/drawing/2014/main" id="{413D237B-B50A-AE37-8CA0-41A8F798B595}"/>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5" name="text 4">
            <a:extLst>
              <a:ext uri="{FF2B5EF4-FFF2-40B4-BE49-F238E27FC236}">
                <a16:creationId xmlns:a16="http://schemas.microsoft.com/office/drawing/2014/main" id="{E318E77B-CFEA-5F69-2552-9B3EE92ACFFC}"/>
              </a:ext>
            </a:extLst>
          </p:cNvPr>
          <p:cNvSpPr>
            <a:spLocks noGrp="1"/>
          </p:cNvSpPr>
          <p:nvPr>
            <p:ph type="body" sz="quarter" idx="23"/>
          </p:nvPr>
        </p:nvSpPr>
        <p:spPr>
          <a:xfrm>
            <a:off x="3866400" y="4360863"/>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stStyle>
          <a:p>
            <a:pPr lvl="0"/>
            <a:r>
              <a:rPr lang="de-DE"/>
              <a:t>Mastertextformat bearbeiten</a:t>
            </a:r>
          </a:p>
        </p:txBody>
      </p:sp>
      <p:sp>
        <p:nvSpPr>
          <p:cNvPr id="18" name="text 3">
            <a:extLst>
              <a:ext uri="{FF2B5EF4-FFF2-40B4-BE49-F238E27FC236}">
                <a16:creationId xmlns:a16="http://schemas.microsoft.com/office/drawing/2014/main" id="{759DB7E1-A1AC-4FE8-5983-602E59EB1391}"/>
              </a:ext>
            </a:extLst>
          </p:cNvPr>
          <p:cNvSpPr>
            <a:spLocks noGrp="1"/>
          </p:cNvSpPr>
          <p:nvPr>
            <p:ph type="body" sz="quarter" idx="22"/>
          </p:nvPr>
        </p:nvSpPr>
        <p:spPr>
          <a:xfrm>
            <a:off x="540000" y="4360863"/>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stStyle>
          <a:p>
            <a:pPr lvl="0"/>
            <a:r>
              <a:rPr lang="de-DE"/>
              <a:t>Mastertextformat bearbeiten</a:t>
            </a:r>
          </a:p>
        </p:txBody>
      </p:sp>
      <p:sp>
        <p:nvSpPr>
          <p:cNvPr id="17" name="text 2">
            <a:extLst>
              <a:ext uri="{FF2B5EF4-FFF2-40B4-BE49-F238E27FC236}">
                <a16:creationId xmlns:a16="http://schemas.microsoft.com/office/drawing/2014/main" id="{CAE3D3F0-664E-ABBC-3640-50F182DB9BED}"/>
              </a:ext>
            </a:extLst>
          </p:cNvPr>
          <p:cNvSpPr>
            <a:spLocks noGrp="1"/>
          </p:cNvSpPr>
          <p:nvPr>
            <p:ph type="body" sz="quarter" idx="21"/>
          </p:nvPr>
        </p:nvSpPr>
        <p:spPr>
          <a:xfrm>
            <a:off x="3866400" y="1980000"/>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stStyle>
          <a:p>
            <a:pPr lvl="0"/>
            <a:r>
              <a:rPr lang="de-DE"/>
              <a:t>Mastertextformat bearbeiten</a:t>
            </a:r>
          </a:p>
        </p:txBody>
      </p:sp>
      <p:sp>
        <p:nvSpPr>
          <p:cNvPr id="15" name="text 1">
            <a:extLst>
              <a:ext uri="{FF2B5EF4-FFF2-40B4-BE49-F238E27FC236}">
                <a16:creationId xmlns:a16="http://schemas.microsoft.com/office/drawing/2014/main" id="{0292821D-E361-102A-F29E-3F6CA54EC1E9}"/>
              </a:ext>
            </a:extLst>
          </p:cNvPr>
          <p:cNvSpPr>
            <a:spLocks noGrp="1"/>
          </p:cNvSpPr>
          <p:nvPr>
            <p:ph type="body" sz="quarter" idx="20"/>
          </p:nvPr>
        </p:nvSpPr>
        <p:spPr>
          <a:xfrm>
            <a:off x="540000" y="1980000"/>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stStyle>
          <a:p>
            <a:pPr lvl="0"/>
            <a:r>
              <a:rPr lang="de-DE"/>
              <a:t>Mastertextformat bearbeiten</a:t>
            </a:r>
          </a:p>
        </p:txBody>
      </p:sp>
      <p:sp>
        <p:nvSpPr>
          <p:cNvPr id="3" name="circle 1">
            <a:extLst>
              <a:ext uri="{FF2B5EF4-FFF2-40B4-BE49-F238E27FC236}">
                <a16:creationId xmlns:a16="http://schemas.microsoft.com/office/drawing/2014/main" id="{18E2054A-5D53-43EA-47D9-97D7ECD1D94C}"/>
              </a:ext>
            </a:extLst>
          </p:cNvPr>
          <p:cNvSpPr>
            <a:spLocks noGrp="1"/>
          </p:cNvSpPr>
          <p:nvPr>
            <p:ph type="body" idx="1" hasCustomPrompt="1"/>
          </p:nvPr>
        </p:nvSpPr>
        <p:spPr>
          <a:xfrm>
            <a:off x="7027200" y="1044000"/>
            <a:ext cx="864000" cy="864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4" name="icon-placeholder">
            <a:extLst>
              <a:ext uri="{FF2B5EF4-FFF2-40B4-BE49-F238E27FC236}">
                <a16:creationId xmlns:a16="http://schemas.microsoft.com/office/drawing/2014/main" id="{42DC2C6F-C5E6-4054-16E0-E9CD4D28965E}"/>
              </a:ext>
            </a:extLst>
          </p:cNvPr>
          <p:cNvSpPr>
            <a:spLocks noGrp="1"/>
          </p:cNvSpPr>
          <p:nvPr>
            <p:ph sz="quarter" idx="19"/>
          </p:nvPr>
        </p:nvSpPr>
        <p:spPr>
          <a:xfrm>
            <a:off x="7243200" y="1260000"/>
            <a:ext cx="432000" cy="432000"/>
          </a:xfrm>
          <a:prstGeom prst="rect">
            <a:avLst/>
          </a:prstGeom>
        </p:spPr>
        <p:txBody>
          <a:bodyPr anchor="ctr"/>
          <a:lstStyle>
            <a:lvl1pPr algn="ctr">
              <a:defRPr>
                <a:solidFill>
                  <a:schemeClr val="bg1"/>
                </a:solidFill>
              </a:defRPr>
            </a:lvl1pPr>
          </a:lstStyle>
          <a:p>
            <a:pPr lvl="0"/>
            <a:r>
              <a:rPr lang="de-DE"/>
              <a:t>Mastertextformat bearbeiten</a:t>
            </a:r>
          </a:p>
        </p:txBody>
      </p:sp>
      <p:sp>
        <p:nvSpPr>
          <p:cNvPr id="7" name="title">
            <a:extLst>
              <a:ext uri="{FF2B5EF4-FFF2-40B4-BE49-F238E27FC236}">
                <a16:creationId xmlns:a16="http://schemas.microsoft.com/office/drawing/2014/main" id="{7A7461C7-A592-D8D9-0006-53F1781C658B}"/>
              </a:ext>
            </a:extLst>
          </p:cNvPr>
          <p:cNvSpPr>
            <a:spLocks noGrp="1"/>
          </p:cNvSpPr>
          <p:nvPr>
            <p:ph type="title" hasCustomPrompt="1"/>
          </p:nvPr>
        </p:nvSpPr>
        <p:spPr>
          <a:xfrm>
            <a:off x="8866862" y="1493156"/>
            <a:ext cx="2880000" cy="3600000"/>
          </a:xfrm>
        </p:spPr>
        <p:txBody>
          <a:bodyPr vert="horz" anchor="ctr"/>
          <a:lstStyle>
            <a:lvl1pPr algn="l" defTabSz="914400" rtl="0" eaLnBrk="1" latinLnBrk="0" hangingPunct="1">
              <a:lnSpc>
                <a:spcPts val="2800"/>
              </a:lnSpc>
              <a:spcBef>
                <a:spcPct val="0"/>
              </a:spcBef>
              <a:buNone/>
              <a:tabLst>
                <a:tab pos="10760075" algn="r"/>
              </a:tabLst>
              <a:defRPr lang="en-US" sz="2400" b="1" i="0" kern="1200" spc="100" baseline="0" noProof="0" dirty="0">
                <a:solidFill>
                  <a:schemeClr val="bg2"/>
                </a:solidFill>
                <a:latin typeface="Segoe UI Semibold" panose="020B0502040204020203" pitchFamily="34" charset="0"/>
                <a:ea typeface="Segoe UI Black" panose="020B0A02040204020203" pitchFamily="34" charset="0"/>
                <a:cs typeface="Segoe UI Semibold" panose="020B0502040204020203" pitchFamily="34" charset="0"/>
              </a:defRPr>
            </a:lvl1pPr>
          </a:lstStyle>
          <a:p>
            <a:r>
              <a:rPr lang="de-DE"/>
              <a:t>Mastertitelformat bearbeiten</a:t>
            </a:r>
            <a:endParaRPr lang="en-US" dirty="0"/>
          </a:p>
        </p:txBody>
      </p:sp>
      <p:sp>
        <p:nvSpPr>
          <p:cNvPr id="5" name="navigation">
            <a:extLst>
              <a:ext uri="{FF2B5EF4-FFF2-40B4-BE49-F238E27FC236}">
                <a16:creationId xmlns:a16="http://schemas.microsoft.com/office/drawing/2014/main" id="{2C29F309-EA97-F8D7-B9E5-7F0D7433E651}"/>
              </a:ext>
            </a:extLst>
          </p:cNvPr>
          <p:cNvSpPr>
            <a:spLocks noGrp="1"/>
          </p:cNvSpPr>
          <p:nvPr>
            <p:ph type="body" sz="quarter" idx="14"/>
          </p:nvPr>
        </p:nvSpPr>
        <p:spPr>
          <a:xfrm>
            <a:off x="576000" y="396000"/>
            <a:ext cx="612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45580454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  001 : BASIC :  Footnote  :  title and content">
    <p:spTree>
      <p:nvGrpSpPr>
        <p:cNvPr id="1" name=""/>
        <p:cNvGrpSpPr/>
        <p:nvPr/>
      </p:nvGrpSpPr>
      <p:grpSpPr>
        <a:xfrm>
          <a:off x="0" y="0"/>
          <a:ext cx="0" cy="0"/>
          <a:chOff x="0" y="0"/>
          <a:chExt cx="0" cy="0"/>
        </a:xfrm>
      </p:grpSpPr>
      <p:sp>
        <p:nvSpPr>
          <p:cNvPr id="8" name="slide number">
            <a:extLst>
              <a:ext uri="{FF2B5EF4-FFF2-40B4-BE49-F238E27FC236}">
                <a16:creationId xmlns:a16="http://schemas.microsoft.com/office/drawing/2014/main" id="{2B8DCA8E-E758-A02D-2104-E01EE369E56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9" name="footer">
            <a:extLst>
              <a:ext uri="{FF2B5EF4-FFF2-40B4-BE49-F238E27FC236}">
                <a16:creationId xmlns:a16="http://schemas.microsoft.com/office/drawing/2014/main" id="{6579E58F-8136-67AD-3280-33201D8696AD}"/>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0" name="date">
            <a:extLst>
              <a:ext uri="{FF2B5EF4-FFF2-40B4-BE49-F238E27FC236}">
                <a16:creationId xmlns:a16="http://schemas.microsoft.com/office/drawing/2014/main" id="{6A0A194C-20EC-8385-1671-2BE66E04C7A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4" name="text 1">
            <a:extLst>
              <a:ext uri="{FF2B5EF4-FFF2-40B4-BE49-F238E27FC236}">
                <a16:creationId xmlns:a16="http://schemas.microsoft.com/office/drawing/2014/main" id="{4C750ABB-F946-1DE1-308F-B93DC07A1068}"/>
              </a:ext>
            </a:extLst>
          </p:cNvPr>
          <p:cNvSpPr>
            <a:spLocks noGrp="1"/>
          </p:cNvSpPr>
          <p:nvPr>
            <p:ph type="body" sz="quarter" idx="57"/>
          </p:nvPr>
        </p:nvSpPr>
        <p:spPr>
          <a:xfrm>
            <a:off x="540000" y="5831998"/>
            <a:ext cx="11124000" cy="360001"/>
          </a:xfrm>
        </p:spPr>
        <p:txBody>
          <a:bodyPr anchor="b"/>
          <a:lstStyle>
            <a:lvl1pPr>
              <a:lnSpc>
                <a:spcPts val="1000"/>
              </a:lnSpc>
              <a:spcBef>
                <a:spcPts val="0"/>
              </a:spcBef>
              <a:spcAft>
                <a:spcPts val="0"/>
              </a:spcAft>
              <a:defRPr sz="900">
                <a:solidFill>
                  <a:schemeClr val="accent4">
                    <a:lumMod val="75000"/>
                  </a:schemeClr>
                </a:solidFill>
              </a:defRPr>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540000" y="1476000"/>
            <a:ext cx="11088000" cy="4320000"/>
          </a:xfrm>
          <a:noFill/>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US" dirty="0" smtClean="0"/>
            </a:lvl6pPr>
            <a:lvl7pPr>
              <a:defRPr lang="en-US" dirty="0" smtClean="0"/>
            </a:lvl7pPr>
            <a:lvl8pPr>
              <a:defRPr lang="en-US" dirty="0" smtClean="0"/>
            </a:lvl8pPr>
            <a:lvl9pPr>
              <a:defRPr lang="en-US"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A2006E74-F413-42A1-5EBE-FFA34D108AD3}"/>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5040661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  022 : cover references : full page picture : text : logo">
    <p:spTree>
      <p:nvGrpSpPr>
        <p:cNvPr id="1" name=""/>
        <p:cNvGrpSpPr/>
        <p:nvPr/>
      </p:nvGrpSpPr>
      <p:grpSpPr>
        <a:xfrm>
          <a:off x="0" y="0"/>
          <a:ext cx="0" cy="0"/>
          <a:chOff x="0" y="0"/>
          <a:chExt cx="0" cy="0"/>
        </a:xfrm>
      </p:grpSpPr>
      <p:sp>
        <p:nvSpPr>
          <p:cNvPr id="3" name="picture">
            <a:extLst>
              <a:ext uri="{FF2B5EF4-FFF2-40B4-BE49-F238E27FC236}">
                <a16:creationId xmlns:a16="http://schemas.microsoft.com/office/drawing/2014/main" id="{940ECA07-E3D7-CFCA-C677-0BD690AD1BDA}"/>
              </a:ext>
            </a:extLst>
          </p:cNvPr>
          <p:cNvSpPr>
            <a:spLocks noGrp="1"/>
          </p:cNvSpPr>
          <p:nvPr>
            <p:ph type="pic" sz="quarter" idx="16"/>
          </p:nvPr>
        </p:nvSpPr>
        <p:spPr>
          <a:xfrm>
            <a:off x="0" y="0"/>
            <a:ext cx="12204000" cy="6858000"/>
          </a:xfrm>
        </p:spPr>
        <p:txBody>
          <a:bodyPr/>
          <a:lstStyle/>
          <a:p>
            <a:r>
              <a:rPr lang="de-DE"/>
              <a:t>Bild durch Klicken auf Symbol hinzufügen</a:t>
            </a:r>
            <a:endParaRPr lang="en-US" dirty="0"/>
          </a:p>
        </p:txBody>
      </p:sp>
      <p:sp>
        <p:nvSpPr>
          <p:cNvPr id="10" name="slide number">
            <a:extLst>
              <a:ext uri="{FF2B5EF4-FFF2-40B4-BE49-F238E27FC236}">
                <a16:creationId xmlns:a16="http://schemas.microsoft.com/office/drawing/2014/main" id="{B7DF5438-CE54-DB76-7519-6B492C35319C}"/>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BF49D278-F4EF-105E-D394-837DBAD3E5EA}"/>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02E6CEDB-A8CD-4A71-1981-445288A0659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 name="logo placeholder">
            <a:extLst>
              <a:ext uri="{FF2B5EF4-FFF2-40B4-BE49-F238E27FC236}">
                <a16:creationId xmlns:a16="http://schemas.microsoft.com/office/drawing/2014/main" id="{F34A17B4-9EFA-E101-8CCF-87C317028338}"/>
              </a:ext>
            </a:extLst>
          </p:cNvPr>
          <p:cNvSpPr>
            <a:spLocks noGrp="1"/>
          </p:cNvSpPr>
          <p:nvPr>
            <p:ph type="pic" sz="quarter" idx="24"/>
          </p:nvPr>
        </p:nvSpPr>
        <p:spPr>
          <a:xfrm>
            <a:off x="415887" y="6218848"/>
            <a:ext cx="1169231" cy="450666"/>
          </a:xfrm>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Bild durch Klicken auf Symbol hinzufügen</a:t>
            </a:r>
            <a:endParaRPr lang="en-US" dirty="0"/>
          </a:p>
        </p:txBody>
      </p:sp>
      <p:sp>
        <p:nvSpPr>
          <p:cNvPr id="11" name="text below">
            <a:extLst>
              <a:ext uri="{FF2B5EF4-FFF2-40B4-BE49-F238E27FC236}">
                <a16:creationId xmlns:a16="http://schemas.microsoft.com/office/drawing/2014/main" id="{A2CE80B2-8B9A-D0FB-C427-6D3137DAECA4}"/>
              </a:ext>
            </a:extLst>
          </p:cNvPr>
          <p:cNvSpPr>
            <a:spLocks noGrp="1"/>
          </p:cNvSpPr>
          <p:nvPr>
            <p:ph type="body" sz="quarter" idx="17"/>
          </p:nvPr>
        </p:nvSpPr>
        <p:spPr>
          <a:xfrm>
            <a:off x="7344000" y="1981074"/>
            <a:ext cx="4320000" cy="4176000"/>
          </a:xfrm>
          <a:prstGeom prst="rect">
            <a:avLst/>
          </a:prstGeom>
          <a:noFill/>
          <a:effectLst>
            <a:outerShdw blurRad="63500" algn="ctr" rotWithShape="0">
              <a:schemeClr val="accent4">
                <a:alpha val="50000"/>
              </a:schemeClr>
            </a:outerShdw>
          </a:effectLst>
        </p:spPr>
        <p:txBody>
          <a:bodyPr vert="horz" lIns="0" tIns="0" rIns="0" bIns="0" rtlCol="0" anchor="b">
            <a:noAutofit/>
          </a:bodyPr>
          <a:lstStyle>
            <a:lvl1pPr>
              <a:defRPr lang="en-US" sz="1200" i="0" dirty="0">
                <a:solidFill>
                  <a:schemeClr val="tx1"/>
                </a:solidFill>
                <a:latin typeface="Segoe UI Semilight" panose="020B0402040204020203" pitchFamily="34" charset="0"/>
                <a:cs typeface="Segoe UI Semilight" panose="020B0402040204020203" pitchFamily="34" charset="0"/>
              </a:defRPr>
            </a:lvl1pPr>
            <a:lvl2pPr marL="171450" indent="-171450">
              <a:buClr>
                <a:schemeClr val="tx1"/>
              </a:buClr>
              <a:buFont typeface="Arial" panose="020B0604020202020204" pitchFamily="34" charset="0"/>
              <a:buChar char="•"/>
              <a:defRPr lang="en-US" sz="1200" dirty="0">
                <a:solidFill>
                  <a:schemeClr val="tx1"/>
                </a:solidFill>
              </a:defRPr>
            </a:lvl2pPr>
            <a:lvl3pPr>
              <a:buClr>
                <a:schemeClr val="tx1"/>
              </a:buClr>
              <a:defRPr lang="en-US" sz="1200" dirty="0">
                <a:solidFill>
                  <a:schemeClr val="tx1"/>
                </a:solidFill>
              </a:defRPr>
            </a:lvl3pPr>
            <a:lvl4pPr>
              <a:buClr>
                <a:schemeClr val="tx1"/>
              </a:buClr>
              <a:defRPr lang="en-US" sz="1200" dirty="0">
                <a:solidFill>
                  <a:schemeClr val="tx1"/>
                </a:solidFill>
              </a:defRPr>
            </a:lvl4pPr>
            <a:lvl5pPr>
              <a:defRPr lang="en-US" sz="1600" dirty="0">
                <a:solidFill>
                  <a:schemeClr val="tx1"/>
                </a:solidFill>
              </a:defRPr>
            </a:lvl5pPr>
          </a:lstStyle>
          <a:p>
            <a:pPr lvl="0">
              <a:lnSpc>
                <a:spcPct val="100000"/>
              </a:lnSpc>
            </a:pPr>
            <a:r>
              <a:rPr lang="de-DE"/>
              <a:t>Mastertextformat bearbeiten</a:t>
            </a:r>
          </a:p>
        </p:txBody>
      </p:sp>
      <p:sp>
        <p:nvSpPr>
          <p:cNvPr id="5" name="logo placeholder white">
            <a:extLst>
              <a:ext uri="{FF2B5EF4-FFF2-40B4-BE49-F238E27FC236}">
                <a16:creationId xmlns:a16="http://schemas.microsoft.com/office/drawing/2014/main" id="{468BE9AE-1E5A-D12A-64D1-88E2074751A3}"/>
              </a:ext>
            </a:extLst>
          </p:cNvPr>
          <p:cNvSpPr>
            <a:spLocks noGrp="1" noChangeAspect="1"/>
          </p:cNvSpPr>
          <p:nvPr>
            <p:ph type="pic" sz="quarter" idx="66" hasCustomPrompt="1"/>
          </p:nvPr>
        </p:nvSpPr>
        <p:spPr>
          <a:xfrm>
            <a:off x="9179337" y="441936"/>
            <a:ext cx="2160000" cy="900000"/>
          </a:xfrm>
          <a:prstGeom prst="roundRect">
            <a:avLst>
              <a:gd name="adj" fmla="val 12587"/>
            </a:avLst>
          </a:prstGeom>
          <a:solidFill>
            <a:schemeClr val="bg1"/>
          </a:solidFill>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en-US"/>
              <a:t> </a:t>
            </a:r>
            <a:endParaRPr lang="en-US" dirty="0"/>
          </a:p>
        </p:txBody>
      </p:sp>
      <p:sp>
        <p:nvSpPr>
          <p:cNvPr id="6" name="customer logo">
            <a:extLst>
              <a:ext uri="{FF2B5EF4-FFF2-40B4-BE49-F238E27FC236}">
                <a16:creationId xmlns:a16="http://schemas.microsoft.com/office/drawing/2014/main" id="{8DBDF38A-4389-1ECE-562B-874287CF8DD7}"/>
              </a:ext>
            </a:extLst>
          </p:cNvPr>
          <p:cNvSpPr>
            <a:spLocks noGrp="1" noChangeAspect="1"/>
          </p:cNvSpPr>
          <p:nvPr>
            <p:ph type="pic" sz="quarter" idx="46" hasCustomPrompt="1"/>
          </p:nvPr>
        </p:nvSpPr>
        <p:spPr>
          <a:xfrm>
            <a:off x="9395337" y="603936"/>
            <a:ext cx="1728000" cy="576000"/>
          </a:xfrm>
          <a:prstGeom prst="roundRect">
            <a:avLst>
              <a:gd name="adj" fmla="val 7414"/>
            </a:avLst>
          </a:prstGeom>
          <a:noFill/>
        </p:spPr>
        <p:txBody>
          <a:bodyPr anchor="ctr" anchorCtr="1">
            <a:noAutofit/>
          </a:bodyPr>
          <a:lstStyle>
            <a:lvl1pPr algn="ctr">
              <a:defRPr/>
            </a:lvl1p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 CUSTOMER </a:t>
            </a:r>
            <a:r>
              <a:rPr lang="de-DE" dirty="0"/>
              <a:t>LOGO</a:t>
            </a:r>
            <a:endParaRPr lang="en-US" dirty="0"/>
          </a:p>
        </p:txBody>
      </p:sp>
    </p:spTree>
    <p:extLst>
      <p:ext uri="{BB962C8B-B14F-4D97-AF65-F5344CB8AC3E}">
        <p14:creationId xmlns:p14="http://schemas.microsoft.com/office/powerpoint/2010/main" val="3273886004"/>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A  022a : references : long form">
    <p:spTree>
      <p:nvGrpSpPr>
        <p:cNvPr id="1" name=""/>
        <p:cNvGrpSpPr/>
        <p:nvPr/>
      </p:nvGrpSpPr>
      <p:grpSpPr>
        <a:xfrm>
          <a:off x="0" y="0"/>
          <a:ext cx="0" cy="0"/>
          <a:chOff x="0" y="0"/>
          <a:chExt cx="0" cy="0"/>
        </a:xfrm>
      </p:grpSpPr>
      <p:sp>
        <p:nvSpPr>
          <p:cNvPr id="22" name="placeholder hg">
            <a:extLst>
              <a:ext uri="{FF2B5EF4-FFF2-40B4-BE49-F238E27FC236}">
                <a16:creationId xmlns:a16="http://schemas.microsoft.com/office/drawing/2014/main" id="{7CB97BF9-FAF4-B54D-AC1F-41FDC277823E}"/>
              </a:ext>
            </a:extLst>
          </p:cNvPr>
          <p:cNvSpPr>
            <a:spLocks noGrp="1"/>
          </p:cNvSpPr>
          <p:nvPr>
            <p:ph type="pic" sz="quarter" idx="86" hasCustomPrompt="1"/>
          </p:nvPr>
        </p:nvSpPr>
        <p:spPr>
          <a:xfrm>
            <a:off x="8881200" y="0"/>
            <a:ext cx="3312000" cy="6858000"/>
          </a:xfrm>
          <a:prstGeom prst="rect">
            <a:avLst/>
          </a:prstGeom>
          <a:solidFill>
            <a:schemeClr val="bg1"/>
          </a:solidFill>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en-US"/>
              <a:t> </a:t>
            </a:r>
            <a:endParaRPr lang="en-US" dirty="0"/>
          </a:p>
        </p:txBody>
      </p:sp>
      <p:sp>
        <p:nvSpPr>
          <p:cNvPr id="4" name="slide number">
            <a:extLst>
              <a:ext uri="{FF2B5EF4-FFF2-40B4-BE49-F238E27FC236}">
                <a16:creationId xmlns:a16="http://schemas.microsoft.com/office/drawing/2014/main" id="{3459B900-5FE1-00F0-A4B9-051ACF007E4F}"/>
              </a:ext>
            </a:extLst>
          </p:cNvPr>
          <p:cNvSpPr>
            <a:spLocks noGrp="1"/>
          </p:cNvSpPr>
          <p:nvPr>
            <p:ph type="sldNum" sz="quarter" idx="13"/>
          </p:nvPr>
        </p:nvSpPr>
        <p:spPr/>
        <p:txBody>
          <a:bodyPr vert="horz" lIns="0" tIns="0" rIns="0" bIns="0" rtlCol="0" anchor="b" anchorCtr="0">
            <a:noAutofit/>
          </a:bodyPr>
          <a:lstStyle>
            <a:lvl1pPr>
              <a:defRPr lang="en-GB" smtClean="0"/>
            </a:lvl1pPr>
          </a:lstStyle>
          <a:p>
            <a:fld id="{D7B5DC5B-6873-43DB-ADC7-B15ACCE0DFDB}" type="slidenum">
              <a:rPr lang="en-GB" smtClean="0"/>
              <a:pPr/>
              <a:t>‹Nr.›</a:t>
            </a:fld>
            <a:endParaRPr lang="en-GB" dirty="0"/>
          </a:p>
        </p:txBody>
      </p:sp>
      <p:sp>
        <p:nvSpPr>
          <p:cNvPr id="3" name="footer">
            <a:extLst>
              <a:ext uri="{FF2B5EF4-FFF2-40B4-BE49-F238E27FC236}">
                <a16:creationId xmlns:a16="http://schemas.microsoft.com/office/drawing/2014/main" id="{1D38B9FD-F6EF-9E86-A8F2-ED5A7EBD06E1}"/>
              </a:ext>
            </a:extLst>
          </p:cNvPr>
          <p:cNvSpPr>
            <a:spLocks noGrp="1"/>
          </p:cNvSpPr>
          <p:nvPr>
            <p:ph type="ftr" sz="quarter" idx="12"/>
          </p:nvPr>
        </p:nvSpPr>
        <p:spPr/>
        <p:txBody>
          <a:bodyPr/>
          <a:lstStyle/>
          <a:p>
            <a:pPr algn="r"/>
            <a:r>
              <a:rPr lang="en-GB"/>
              <a:t>valantic layout samples Route B</a:t>
            </a:r>
            <a:endParaRPr lang="nl-NL" dirty="0"/>
          </a:p>
        </p:txBody>
      </p:sp>
      <p:sp>
        <p:nvSpPr>
          <p:cNvPr id="2" name="date">
            <a:extLst>
              <a:ext uri="{FF2B5EF4-FFF2-40B4-BE49-F238E27FC236}">
                <a16:creationId xmlns:a16="http://schemas.microsoft.com/office/drawing/2014/main" id="{5FEEC918-95BC-9B14-BDE8-A2EC4732897E}"/>
              </a:ext>
            </a:extLst>
          </p:cNvPr>
          <p:cNvSpPr>
            <a:spLocks noGrp="1"/>
          </p:cNvSpPr>
          <p:nvPr>
            <p:ph type="dt" sz="half" idx="11"/>
          </p:nvPr>
        </p:nvSpPr>
        <p:spPr/>
        <p:txBody>
          <a:bodyPr/>
          <a:lstStyle/>
          <a:p>
            <a:r>
              <a:rPr lang="en-US"/>
              <a:t>April 26 2024</a:t>
            </a:r>
            <a:endParaRPr lang="nl-NL" dirty="0"/>
          </a:p>
        </p:txBody>
      </p:sp>
      <p:sp>
        <p:nvSpPr>
          <p:cNvPr id="13" name="button 3">
            <a:extLst>
              <a:ext uri="{FF2B5EF4-FFF2-40B4-BE49-F238E27FC236}">
                <a16:creationId xmlns:a16="http://schemas.microsoft.com/office/drawing/2014/main" id="{0028027F-77E7-E5A3-FCB4-A76BAC4380D6}"/>
              </a:ext>
            </a:extLst>
          </p:cNvPr>
          <p:cNvSpPr>
            <a:spLocks noGrp="1"/>
          </p:cNvSpPr>
          <p:nvPr>
            <p:ph type="body" sz="quarter" idx="84"/>
          </p:nvPr>
        </p:nvSpPr>
        <p:spPr>
          <a:xfrm>
            <a:off x="9179336" y="4939884"/>
            <a:ext cx="2484000" cy="720000"/>
          </a:xfrm>
          <a:prstGeom prst="roundRect">
            <a:avLst>
              <a:gd name="adj" fmla="val 50000"/>
            </a:avLst>
          </a:prstGeom>
          <a:solidFill>
            <a:schemeClr val="bg1"/>
          </a:solidFill>
        </p:spPr>
        <p:txBody>
          <a:bodyPr lIns="180000" tIns="0" rIns="648000" bIns="0" anchor="ctr"/>
          <a:lstStyle>
            <a:lvl1pPr>
              <a:lnSpc>
                <a:spcPts val="1200"/>
              </a:lnSpc>
              <a:spcAft>
                <a:spcPts val="0"/>
              </a:spcAft>
              <a:defRPr sz="1200">
                <a:latin typeface="+mj-lt"/>
              </a:defRPr>
            </a:lvl1pPr>
            <a:lvl2pPr>
              <a:lnSpc>
                <a:spcPts val="1200"/>
              </a:lnSpc>
              <a:spcAft>
                <a:spcPts val="0"/>
              </a:spcAft>
              <a:defRPr sz="1200">
                <a:latin typeface="+mj-lt"/>
              </a:defRPr>
            </a:lvl2pPr>
            <a:lvl3pPr>
              <a:lnSpc>
                <a:spcPts val="1200"/>
              </a:lnSpc>
              <a:spcAft>
                <a:spcPts val="0"/>
              </a:spcAft>
              <a:defRPr sz="1200">
                <a:latin typeface="+mj-lt"/>
              </a:defRPr>
            </a:lvl3pPr>
            <a:lvl4pPr>
              <a:lnSpc>
                <a:spcPts val="1200"/>
              </a:lnSpc>
              <a:spcAft>
                <a:spcPts val="0"/>
              </a:spcAft>
              <a:defRPr sz="1200">
                <a:latin typeface="+mj-lt"/>
              </a:defRPr>
            </a:lvl4pPr>
            <a:lvl5pPr>
              <a:lnSpc>
                <a:spcPts val="1200"/>
              </a:lnSpc>
              <a:spcAft>
                <a:spcPts val="0"/>
              </a:spcAft>
              <a:defRPr sz="1200">
                <a:latin typeface="+mj-lt"/>
              </a:defRPr>
            </a:lvl5pPr>
          </a:lstStyle>
          <a:p>
            <a:pPr lvl="0"/>
            <a:r>
              <a:rPr lang="de-DE"/>
              <a:t>Mastertextformat bearbeiten</a:t>
            </a:r>
          </a:p>
        </p:txBody>
      </p:sp>
      <p:sp>
        <p:nvSpPr>
          <p:cNvPr id="14" name="circle 3">
            <a:extLst>
              <a:ext uri="{FF2B5EF4-FFF2-40B4-BE49-F238E27FC236}">
                <a16:creationId xmlns:a16="http://schemas.microsoft.com/office/drawing/2014/main" id="{1A59375E-4E5C-5355-94F0-B0E3A0089C8D}"/>
              </a:ext>
            </a:extLst>
          </p:cNvPr>
          <p:cNvSpPr>
            <a:spLocks noGrp="1"/>
          </p:cNvSpPr>
          <p:nvPr>
            <p:ph type="body" idx="81" hasCustomPrompt="1"/>
          </p:nvPr>
        </p:nvSpPr>
        <p:spPr>
          <a:xfrm>
            <a:off x="10960710" y="4936233"/>
            <a:ext cx="720000" cy="720000"/>
          </a:xfrm>
          <a:prstGeom prst="ellipse">
            <a:avLst/>
          </a:prstGeom>
          <a:solidFill>
            <a:schemeClr val="accent2"/>
          </a:solidFill>
          <a:ln w="3175">
            <a:noFill/>
          </a:ln>
          <a:effectLst/>
        </p:spPr>
        <p:txBody>
          <a:bodyPr anchor="ctr"/>
          <a:lstStyle>
            <a:lvl1pPr marL="0" indent="0" algn="ctr">
              <a:lnSpc>
                <a:spcPts val="1400"/>
              </a:lnSpc>
              <a:spcBef>
                <a:spcPts val="0"/>
              </a:spcBef>
              <a:spcAft>
                <a:spcPts val="0"/>
              </a:spcAft>
              <a:buNone/>
              <a:defRPr sz="1400" b="0">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15" name="icon-placeholder 3">
            <a:extLst>
              <a:ext uri="{FF2B5EF4-FFF2-40B4-BE49-F238E27FC236}">
                <a16:creationId xmlns:a16="http://schemas.microsoft.com/office/drawing/2014/main" id="{827DB83A-A77F-4F1F-E9DE-0516A980101C}"/>
              </a:ext>
            </a:extLst>
          </p:cNvPr>
          <p:cNvSpPr>
            <a:spLocks noGrp="1"/>
          </p:cNvSpPr>
          <p:nvPr>
            <p:ph sz="quarter" idx="82"/>
          </p:nvPr>
        </p:nvSpPr>
        <p:spPr>
          <a:xfrm>
            <a:off x="11110025" y="5086583"/>
            <a:ext cx="432000" cy="432000"/>
          </a:xfrm>
          <a:prstGeom prst="rect">
            <a:avLst/>
          </a:prstGeom>
          <a:noFill/>
        </p:spPr>
        <p:txBody>
          <a:bodyPr anchor="ctr"/>
          <a:lstStyle>
            <a:lvl1pPr algn="ctr">
              <a:lnSpc>
                <a:spcPts val="1400"/>
              </a:lnSpc>
              <a:spcBef>
                <a:spcPts val="0"/>
              </a:spcBef>
              <a:spcAft>
                <a:spcPts val="0"/>
              </a:spcAft>
              <a:defRPr sz="1400">
                <a:solidFill>
                  <a:schemeClr val="bg1"/>
                </a:solidFill>
                <a:latin typeface="+mj-lt"/>
              </a:defRPr>
            </a:lvl1pPr>
          </a:lstStyle>
          <a:p>
            <a:pPr lvl="0"/>
            <a:r>
              <a:rPr lang="de-DE"/>
              <a:t>Mastertextformat bearbeiten</a:t>
            </a:r>
          </a:p>
        </p:txBody>
      </p:sp>
      <p:sp>
        <p:nvSpPr>
          <p:cNvPr id="16" name="button 2">
            <a:extLst>
              <a:ext uri="{FF2B5EF4-FFF2-40B4-BE49-F238E27FC236}">
                <a16:creationId xmlns:a16="http://schemas.microsoft.com/office/drawing/2014/main" id="{116C5A0F-2DE9-F729-A9A5-0BB95001B7CD}"/>
              </a:ext>
            </a:extLst>
          </p:cNvPr>
          <p:cNvSpPr>
            <a:spLocks noGrp="1"/>
          </p:cNvSpPr>
          <p:nvPr>
            <p:ph type="body" sz="quarter" idx="83"/>
          </p:nvPr>
        </p:nvSpPr>
        <p:spPr>
          <a:xfrm>
            <a:off x="9179336" y="3704913"/>
            <a:ext cx="2484000" cy="720000"/>
          </a:xfrm>
          <a:prstGeom prst="roundRect">
            <a:avLst>
              <a:gd name="adj" fmla="val 50000"/>
            </a:avLst>
          </a:prstGeom>
          <a:solidFill>
            <a:schemeClr val="bg1"/>
          </a:solidFill>
        </p:spPr>
        <p:txBody>
          <a:bodyPr lIns="180000" tIns="0" rIns="648000" bIns="0" anchor="ctr"/>
          <a:lstStyle>
            <a:lvl1pPr>
              <a:lnSpc>
                <a:spcPts val="1200"/>
              </a:lnSpc>
              <a:spcAft>
                <a:spcPts val="0"/>
              </a:spcAft>
              <a:defRPr sz="1200">
                <a:latin typeface="+mj-lt"/>
              </a:defRPr>
            </a:lvl1pPr>
            <a:lvl2pPr>
              <a:lnSpc>
                <a:spcPts val="1200"/>
              </a:lnSpc>
              <a:spcAft>
                <a:spcPts val="0"/>
              </a:spcAft>
              <a:defRPr sz="1200">
                <a:latin typeface="+mj-lt"/>
              </a:defRPr>
            </a:lvl2pPr>
            <a:lvl3pPr>
              <a:lnSpc>
                <a:spcPts val="1200"/>
              </a:lnSpc>
              <a:spcAft>
                <a:spcPts val="0"/>
              </a:spcAft>
              <a:defRPr sz="1200">
                <a:latin typeface="+mj-lt"/>
              </a:defRPr>
            </a:lvl3pPr>
            <a:lvl4pPr>
              <a:lnSpc>
                <a:spcPts val="1200"/>
              </a:lnSpc>
              <a:spcAft>
                <a:spcPts val="0"/>
              </a:spcAft>
              <a:defRPr sz="1200">
                <a:latin typeface="+mj-lt"/>
              </a:defRPr>
            </a:lvl4pPr>
            <a:lvl5pPr>
              <a:lnSpc>
                <a:spcPts val="1200"/>
              </a:lnSpc>
              <a:spcAft>
                <a:spcPts val="0"/>
              </a:spcAft>
              <a:defRPr sz="1200">
                <a:latin typeface="+mj-lt"/>
              </a:defRPr>
            </a:lvl5pPr>
          </a:lstStyle>
          <a:p>
            <a:pPr lvl="0"/>
            <a:r>
              <a:rPr lang="de-DE"/>
              <a:t>Mastertextformat bearbeiten</a:t>
            </a:r>
          </a:p>
        </p:txBody>
      </p:sp>
      <p:sp>
        <p:nvSpPr>
          <p:cNvPr id="17" name="circle 2">
            <a:extLst>
              <a:ext uri="{FF2B5EF4-FFF2-40B4-BE49-F238E27FC236}">
                <a16:creationId xmlns:a16="http://schemas.microsoft.com/office/drawing/2014/main" id="{A1A9BD3A-61F0-98B9-1F49-01DD9B1D3000}"/>
              </a:ext>
            </a:extLst>
          </p:cNvPr>
          <p:cNvSpPr>
            <a:spLocks noGrp="1"/>
          </p:cNvSpPr>
          <p:nvPr>
            <p:ph type="body" idx="79" hasCustomPrompt="1"/>
          </p:nvPr>
        </p:nvSpPr>
        <p:spPr>
          <a:xfrm>
            <a:off x="10960710" y="3703087"/>
            <a:ext cx="720000" cy="720000"/>
          </a:xfrm>
          <a:prstGeom prst="ellipse">
            <a:avLst/>
          </a:prstGeom>
          <a:solidFill>
            <a:schemeClr val="accent2"/>
          </a:solidFill>
          <a:ln w="3175">
            <a:noFill/>
          </a:ln>
          <a:effectLst/>
        </p:spPr>
        <p:txBody>
          <a:bodyPr anchor="ctr"/>
          <a:lstStyle>
            <a:lvl1pPr marL="0" indent="0" algn="ctr">
              <a:lnSpc>
                <a:spcPts val="1400"/>
              </a:lnSpc>
              <a:spcBef>
                <a:spcPts val="0"/>
              </a:spcBef>
              <a:spcAft>
                <a:spcPts val="0"/>
              </a:spcAft>
              <a:buNone/>
              <a:defRPr sz="1400" b="0">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18" name="icon-placeholder 2">
            <a:extLst>
              <a:ext uri="{FF2B5EF4-FFF2-40B4-BE49-F238E27FC236}">
                <a16:creationId xmlns:a16="http://schemas.microsoft.com/office/drawing/2014/main" id="{E514FF21-5A7C-4F7F-720B-28B168C2713C}"/>
              </a:ext>
            </a:extLst>
          </p:cNvPr>
          <p:cNvSpPr>
            <a:spLocks noGrp="1"/>
          </p:cNvSpPr>
          <p:nvPr>
            <p:ph sz="quarter" idx="80"/>
          </p:nvPr>
        </p:nvSpPr>
        <p:spPr>
          <a:xfrm>
            <a:off x="11110025" y="3853437"/>
            <a:ext cx="432000" cy="432000"/>
          </a:xfrm>
          <a:prstGeom prst="rect">
            <a:avLst/>
          </a:prstGeom>
          <a:noFill/>
        </p:spPr>
        <p:txBody>
          <a:bodyPr anchor="ctr"/>
          <a:lstStyle>
            <a:lvl1pPr algn="ctr">
              <a:lnSpc>
                <a:spcPts val="1400"/>
              </a:lnSpc>
              <a:spcBef>
                <a:spcPts val="0"/>
              </a:spcBef>
              <a:spcAft>
                <a:spcPts val="0"/>
              </a:spcAft>
              <a:defRPr sz="1400">
                <a:solidFill>
                  <a:schemeClr val="bg1"/>
                </a:solidFill>
                <a:latin typeface="+mj-lt"/>
              </a:defRPr>
            </a:lvl1pPr>
          </a:lstStyle>
          <a:p>
            <a:pPr lvl="0"/>
            <a:r>
              <a:rPr lang="de-DE"/>
              <a:t>Mastertextformat bearbeiten</a:t>
            </a:r>
          </a:p>
        </p:txBody>
      </p:sp>
      <p:sp>
        <p:nvSpPr>
          <p:cNvPr id="19" name="button 1">
            <a:extLst>
              <a:ext uri="{FF2B5EF4-FFF2-40B4-BE49-F238E27FC236}">
                <a16:creationId xmlns:a16="http://schemas.microsoft.com/office/drawing/2014/main" id="{4271B51A-87CA-692F-C9DF-8D624A90B9A5}"/>
              </a:ext>
            </a:extLst>
          </p:cNvPr>
          <p:cNvSpPr>
            <a:spLocks noGrp="1"/>
          </p:cNvSpPr>
          <p:nvPr>
            <p:ph type="body" sz="quarter" idx="85"/>
          </p:nvPr>
        </p:nvSpPr>
        <p:spPr>
          <a:xfrm>
            <a:off x="9179336" y="2469942"/>
            <a:ext cx="2484000" cy="720000"/>
          </a:xfrm>
          <a:prstGeom prst="roundRect">
            <a:avLst>
              <a:gd name="adj" fmla="val 50000"/>
            </a:avLst>
          </a:prstGeom>
          <a:solidFill>
            <a:schemeClr val="bg1"/>
          </a:solidFill>
        </p:spPr>
        <p:txBody>
          <a:bodyPr lIns="180000" tIns="0" rIns="648000" bIns="0" anchor="ctr"/>
          <a:lstStyle>
            <a:lvl1pPr>
              <a:lnSpc>
                <a:spcPts val="1200"/>
              </a:lnSpc>
              <a:spcAft>
                <a:spcPts val="0"/>
              </a:spcAft>
              <a:defRPr sz="1200">
                <a:latin typeface="+mj-lt"/>
              </a:defRPr>
            </a:lvl1pPr>
            <a:lvl2pPr>
              <a:lnSpc>
                <a:spcPts val="1200"/>
              </a:lnSpc>
              <a:spcAft>
                <a:spcPts val="0"/>
              </a:spcAft>
              <a:defRPr sz="1200">
                <a:latin typeface="+mj-lt"/>
              </a:defRPr>
            </a:lvl2pPr>
            <a:lvl3pPr>
              <a:lnSpc>
                <a:spcPts val="1200"/>
              </a:lnSpc>
              <a:spcAft>
                <a:spcPts val="0"/>
              </a:spcAft>
              <a:defRPr sz="1200">
                <a:latin typeface="+mj-lt"/>
              </a:defRPr>
            </a:lvl3pPr>
            <a:lvl4pPr>
              <a:lnSpc>
                <a:spcPts val="1200"/>
              </a:lnSpc>
              <a:spcAft>
                <a:spcPts val="0"/>
              </a:spcAft>
              <a:defRPr sz="1200">
                <a:latin typeface="+mj-lt"/>
              </a:defRPr>
            </a:lvl4pPr>
            <a:lvl5pPr>
              <a:lnSpc>
                <a:spcPts val="1200"/>
              </a:lnSpc>
              <a:spcAft>
                <a:spcPts val="0"/>
              </a:spcAft>
              <a:defRPr sz="1200">
                <a:latin typeface="+mj-lt"/>
              </a:defRPr>
            </a:lvl5pPr>
          </a:lstStyle>
          <a:p>
            <a:pPr lvl="0"/>
            <a:r>
              <a:rPr lang="de-DE"/>
              <a:t>Mastertextformat bearbeiten</a:t>
            </a:r>
          </a:p>
        </p:txBody>
      </p:sp>
      <p:sp>
        <p:nvSpPr>
          <p:cNvPr id="20" name="circle 1">
            <a:extLst>
              <a:ext uri="{FF2B5EF4-FFF2-40B4-BE49-F238E27FC236}">
                <a16:creationId xmlns:a16="http://schemas.microsoft.com/office/drawing/2014/main" id="{732B39F3-0C53-EBC9-400C-2DB4D1352698}"/>
              </a:ext>
            </a:extLst>
          </p:cNvPr>
          <p:cNvSpPr>
            <a:spLocks noGrp="1"/>
          </p:cNvSpPr>
          <p:nvPr>
            <p:ph type="body" idx="78" hasCustomPrompt="1"/>
          </p:nvPr>
        </p:nvSpPr>
        <p:spPr>
          <a:xfrm>
            <a:off x="10960710" y="2469942"/>
            <a:ext cx="720000" cy="720000"/>
          </a:xfrm>
          <a:prstGeom prst="ellipse">
            <a:avLst/>
          </a:prstGeom>
          <a:solidFill>
            <a:schemeClr val="accent2"/>
          </a:solidFill>
          <a:ln w="3175">
            <a:noFill/>
          </a:ln>
          <a:effectLst/>
        </p:spPr>
        <p:txBody>
          <a:bodyPr anchor="ctr"/>
          <a:lstStyle>
            <a:lvl1pPr marL="0" indent="0" algn="ctr">
              <a:lnSpc>
                <a:spcPts val="1400"/>
              </a:lnSpc>
              <a:spcBef>
                <a:spcPts val="0"/>
              </a:spcBef>
              <a:spcAft>
                <a:spcPts val="0"/>
              </a:spcAft>
              <a:buNone/>
              <a:defRPr sz="1400" b="0">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1" name="icon-placeholder 1">
            <a:extLst>
              <a:ext uri="{FF2B5EF4-FFF2-40B4-BE49-F238E27FC236}">
                <a16:creationId xmlns:a16="http://schemas.microsoft.com/office/drawing/2014/main" id="{5F2A848B-8C60-507A-317D-5EA95EEB41FD}"/>
              </a:ext>
            </a:extLst>
          </p:cNvPr>
          <p:cNvSpPr>
            <a:spLocks noGrp="1"/>
          </p:cNvSpPr>
          <p:nvPr>
            <p:ph sz="quarter" idx="19"/>
          </p:nvPr>
        </p:nvSpPr>
        <p:spPr>
          <a:xfrm>
            <a:off x="11110025" y="2620292"/>
            <a:ext cx="432000" cy="432000"/>
          </a:xfrm>
          <a:prstGeom prst="rect">
            <a:avLst/>
          </a:prstGeom>
          <a:noFill/>
        </p:spPr>
        <p:txBody>
          <a:bodyPr anchor="ctr"/>
          <a:lstStyle>
            <a:lvl1pPr algn="ctr">
              <a:lnSpc>
                <a:spcPts val="1400"/>
              </a:lnSpc>
              <a:spcBef>
                <a:spcPts val="0"/>
              </a:spcBef>
              <a:spcAft>
                <a:spcPts val="0"/>
              </a:spcAft>
              <a:defRPr sz="1400">
                <a:solidFill>
                  <a:schemeClr val="bg1"/>
                </a:solidFill>
                <a:latin typeface="+mj-lt"/>
              </a:defRPr>
            </a:lvl1pPr>
          </a:lstStyle>
          <a:p>
            <a:pPr lvl="0"/>
            <a:r>
              <a:rPr lang="de-DE"/>
              <a:t>Mastertextformat bearbeiten</a:t>
            </a:r>
          </a:p>
        </p:txBody>
      </p:sp>
      <p:sp>
        <p:nvSpPr>
          <p:cNvPr id="23" name="subhead 4">
            <a:extLst>
              <a:ext uri="{FF2B5EF4-FFF2-40B4-BE49-F238E27FC236}">
                <a16:creationId xmlns:a16="http://schemas.microsoft.com/office/drawing/2014/main" id="{EBB9113A-9913-C6D2-6C35-02AB7F8760C8}"/>
              </a:ext>
            </a:extLst>
          </p:cNvPr>
          <p:cNvSpPr>
            <a:spLocks noGrp="1"/>
          </p:cNvSpPr>
          <p:nvPr>
            <p:ph type="body" idx="87"/>
          </p:nvPr>
        </p:nvSpPr>
        <p:spPr>
          <a:xfrm>
            <a:off x="9464188" y="1495939"/>
            <a:ext cx="2160001" cy="432000"/>
          </a:xfrm>
          <a:noFill/>
        </p:spPr>
        <p:txBody>
          <a:bodyPr vert="horz" lIns="0" tIns="0" rIns="0" bIns="0" rtlCol="0" anchor="t" anchorCtr="0">
            <a:noAutofit/>
          </a:bodyPr>
          <a:lstStyle>
            <a:lvl1pPr>
              <a:defRPr lang="en-US" cap="all" spc="0" smtClean="0">
                <a:solidFill>
                  <a:schemeClr val="tx1"/>
                </a:solidFill>
                <a:latin typeface="+mn-lt"/>
              </a:defRPr>
            </a:lvl1pPr>
            <a:lvl5pPr>
              <a:defRPr>
                <a:solidFill>
                  <a:schemeClr val="bg1"/>
                </a:solidFill>
              </a:defRPr>
            </a:lvl5pPr>
          </a:lstStyle>
          <a:p>
            <a:pPr lvl="0">
              <a:lnSpc>
                <a:spcPts val="1600"/>
              </a:lnSpc>
              <a:spcBef>
                <a:spcPts val="0"/>
              </a:spcBef>
              <a:spcAft>
                <a:spcPts val="0"/>
              </a:spcAft>
            </a:pPr>
            <a:r>
              <a:rPr lang="de-DE"/>
              <a:t>Mastertextformat bearbeiten</a:t>
            </a:r>
          </a:p>
        </p:txBody>
      </p:sp>
      <p:sp>
        <p:nvSpPr>
          <p:cNvPr id="62" name="logo placeholder white">
            <a:extLst>
              <a:ext uri="{FF2B5EF4-FFF2-40B4-BE49-F238E27FC236}">
                <a16:creationId xmlns:a16="http://schemas.microsoft.com/office/drawing/2014/main" id="{94172B6B-6B33-E669-22A9-FA37565B7C91}"/>
              </a:ext>
            </a:extLst>
          </p:cNvPr>
          <p:cNvSpPr>
            <a:spLocks noGrp="1" noChangeAspect="1"/>
          </p:cNvSpPr>
          <p:nvPr>
            <p:ph type="pic" sz="quarter" idx="66" hasCustomPrompt="1"/>
          </p:nvPr>
        </p:nvSpPr>
        <p:spPr>
          <a:xfrm>
            <a:off x="9179336" y="441936"/>
            <a:ext cx="2160000" cy="900000"/>
          </a:xfrm>
          <a:prstGeom prst="roundRect">
            <a:avLst>
              <a:gd name="adj" fmla="val 12587"/>
            </a:avLst>
          </a:prstGeom>
          <a:solidFill>
            <a:schemeClr val="bg1"/>
          </a:solidFill>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en-US"/>
              <a:t> </a:t>
            </a:r>
            <a:endParaRPr lang="en-US" dirty="0"/>
          </a:p>
        </p:txBody>
      </p:sp>
      <p:sp>
        <p:nvSpPr>
          <p:cNvPr id="63" name="customer logo">
            <a:extLst>
              <a:ext uri="{FF2B5EF4-FFF2-40B4-BE49-F238E27FC236}">
                <a16:creationId xmlns:a16="http://schemas.microsoft.com/office/drawing/2014/main" id="{B35E3D6E-6FE0-7FC6-AC5B-7CB179A6DC63}"/>
              </a:ext>
            </a:extLst>
          </p:cNvPr>
          <p:cNvSpPr>
            <a:spLocks noGrp="1" noChangeAspect="1"/>
          </p:cNvSpPr>
          <p:nvPr>
            <p:ph type="pic" sz="quarter" idx="46" hasCustomPrompt="1"/>
          </p:nvPr>
        </p:nvSpPr>
        <p:spPr>
          <a:xfrm>
            <a:off x="9395337" y="603936"/>
            <a:ext cx="1728000" cy="576000"/>
          </a:xfrm>
          <a:prstGeom prst="roundRect">
            <a:avLst>
              <a:gd name="adj" fmla="val 7414"/>
            </a:avLst>
          </a:prstGeom>
          <a:noFill/>
        </p:spPr>
        <p:txBody>
          <a:bodyPr anchor="ctr" anchorCtr="1">
            <a:noAutofit/>
          </a:bodyPr>
          <a:lstStyle>
            <a:lvl1pPr algn="ctr">
              <a:defRPr/>
            </a:lvl1p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 CUSTOMER </a:t>
            </a:r>
            <a:r>
              <a:rPr lang="de-DE" dirty="0"/>
              <a:t>LOGO</a:t>
            </a:r>
            <a:endParaRPr lang="en-US" dirty="0"/>
          </a:p>
        </p:txBody>
      </p:sp>
      <p:sp>
        <p:nvSpPr>
          <p:cNvPr id="64" name="text 3">
            <a:extLst>
              <a:ext uri="{FF2B5EF4-FFF2-40B4-BE49-F238E27FC236}">
                <a16:creationId xmlns:a16="http://schemas.microsoft.com/office/drawing/2014/main" id="{C7B7B0F1-1389-039B-1882-E56204926F31}"/>
              </a:ext>
            </a:extLst>
          </p:cNvPr>
          <p:cNvSpPr>
            <a:spLocks noGrp="1"/>
          </p:cNvSpPr>
          <p:nvPr>
            <p:ph type="body" sz="quarter" idx="50"/>
          </p:nvPr>
        </p:nvSpPr>
        <p:spPr>
          <a:xfrm>
            <a:off x="6211242" y="2205544"/>
            <a:ext cx="2556000" cy="3960000"/>
          </a:xfrm>
          <a:prstGeom prst="rect">
            <a:avLst/>
          </a:prstGeom>
          <a:solidFill>
            <a:schemeClr val="bg1"/>
          </a:solidFill>
          <a:ln>
            <a:noFill/>
          </a:ln>
          <a:effectLst/>
        </p:spPr>
        <p:txBody>
          <a:bodyPr vert="horz" lIns="0" tIns="0" rIns="180000" bIns="0" rtlCol="0">
            <a:noAutofit/>
          </a:bodyPr>
          <a:lstStyle>
            <a:lvl1pPr>
              <a:defRPr lang="en-US" sz="1200" dirty="0"/>
            </a:lvl1pPr>
            <a:lvl2pPr>
              <a:defRPr lang="en-US" sz="1200" dirty="0"/>
            </a:lvl2pPr>
            <a:lvl3pPr>
              <a:defRPr lang="en-US" sz="1200" dirty="0"/>
            </a:lvl3pPr>
            <a:lvl4pPr>
              <a:defRPr lang="en-US" sz="1200" dirty="0"/>
            </a:lvl4pPr>
            <a:lvl5pPr>
              <a:defRPr lang="en-US" sz="1400" b="0" kern="1200" spc="40" baseline="0" noProof="0" dirty="0">
                <a:gradFill>
                  <a:gsLst>
                    <a:gs pos="0">
                      <a:srgbClr val="FF4B4B"/>
                    </a:gs>
                    <a:gs pos="100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6" name="subhead 3">
            <a:extLst>
              <a:ext uri="{FF2B5EF4-FFF2-40B4-BE49-F238E27FC236}">
                <a16:creationId xmlns:a16="http://schemas.microsoft.com/office/drawing/2014/main" id="{846451F4-8E98-411D-0946-B13B5FE3C523}"/>
              </a:ext>
            </a:extLst>
          </p:cNvPr>
          <p:cNvSpPr>
            <a:spLocks noGrp="1"/>
          </p:cNvSpPr>
          <p:nvPr>
            <p:ph type="body" idx="77"/>
          </p:nvPr>
        </p:nvSpPr>
        <p:spPr>
          <a:xfrm>
            <a:off x="6751242" y="1495939"/>
            <a:ext cx="2016000" cy="432000"/>
          </a:xfrm>
          <a:noFill/>
        </p:spPr>
        <p:txBody>
          <a:bodyPr vert="horz" lIns="0" tIns="0" rIns="0" bIns="0" rtlCol="0" anchor="t" anchorCtr="0">
            <a:noAutofit/>
          </a:bodyPr>
          <a:lstStyle>
            <a:lvl1pPr>
              <a:defRPr lang="en-US" cap="all" spc="0" smtClean="0">
                <a:solidFill>
                  <a:schemeClr val="tx1"/>
                </a:solidFill>
                <a:latin typeface="+mn-lt"/>
              </a:defRPr>
            </a:lvl1pPr>
            <a:lvl5pPr>
              <a:defRPr>
                <a:solidFill>
                  <a:schemeClr val="tx2"/>
                </a:solidFill>
              </a:defRPr>
            </a:lvl5pPr>
          </a:lstStyle>
          <a:p>
            <a:pPr lvl="0">
              <a:lnSpc>
                <a:spcPts val="1600"/>
              </a:lnSpc>
              <a:spcBef>
                <a:spcPts val="0"/>
              </a:spcBef>
              <a:spcAft>
                <a:spcPts val="0"/>
              </a:spcAft>
            </a:pPr>
            <a:r>
              <a:rPr lang="de-DE"/>
              <a:t>Mastertextformat bearbeiten</a:t>
            </a:r>
          </a:p>
        </p:txBody>
      </p:sp>
      <p:sp>
        <p:nvSpPr>
          <p:cNvPr id="7" name="icon-placeholder 3">
            <a:extLst>
              <a:ext uri="{FF2B5EF4-FFF2-40B4-BE49-F238E27FC236}">
                <a16:creationId xmlns:a16="http://schemas.microsoft.com/office/drawing/2014/main" id="{BFB3EA2C-5D23-5BF0-590E-32A3AB43815A}"/>
              </a:ext>
            </a:extLst>
          </p:cNvPr>
          <p:cNvSpPr>
            <a:spLocks noGrp="1"/>
          </p:cNvSpPr>
          <p:nvPr>
            <p:ph sz="quarter" idx="51"/>
          </p:nvPr>
        </p:nvSpPr>
        <p:spPr>
          <a:xfrm>
            <a:off x="6211242" y="1486685"/>
            <a:ext cx="432000" cy="432000"/>
          </a:xfrm>
        </p:spPr>
        <p:txBody>
          <a:bodyPr rIns="108000" anchor="t"/>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67" name="text 2">
            <a:extLst>
              <a:ext uri="{FF2B5EF4-FFF2-40B4-BE49-F238E27FC236}">
                <a16:creationId xmlns:a16="http://schemas.microsoft.com/office/drawing/2014/main" id="{AA604985-0A44-1DF3-DF06-3B7BD48E4A68}"/>
              </a:ext>
            </a:extLst>
          </p:cNvPr>
          <p:cNvSpPr>
            <a:spLocks noGrp="1"/>
          </p:cNvSpPr>
          <p:nvPr>
            <p:ph type="body" sz="quarter" idx="47"/>
          </p:nvPr>
        </p:nvSpPr>
        <p:spPr>
          <a:xfrm>
            <a:off x="3375621" y="2205544"/>
            <a:ext cx="2556000" cy="3960000"/>
          </a:xfrm>
          <a:prstGeom prst="rect">
            <a:avLst/>
          </a:prstGeom>
          <a:solidFill>
            <a:schemeClr val="bg1"/>
          </a:solidFill>
          <a:ln>
            <a:noFill/>
          </a:ln>
          <a:effectLst/>
        </p:spPr>
        <p:txBody>
          <a:bodyPr vert="horz" lIns="0" tIns="0" rIns="180000" bIns="0" rtlCol="0">
            <a:noAutofit/>
          </a:bodyPr>
          <a:lstStyle>
            <a:lvl1pPr>
              <a:defRPr lang="en-US" sz="1200" dirty="0"/>
            </a:lvl1pPr>
            <a:lvl2pPr>
              <a:defRPr lang="en-US" sz="1200" dirty="0"/>
            </a:lvl2pPr>
            <a:lvl3pPr>
              <a:defRPr lang="en-US" sz="1200" dirty="0"/>
            </a:lvl3pPr>
            <a:lvl4pPr>
              <a:defRPr lang="en-US" sz="1200" dirty="0"/>
            </a:lvl4pPr>
            <a:lvl5pPr>
              <a:defRPr lang="en-US" sz="1400" b="0" kern="1200" spc="40" baseline="0" noProof="0" dirty="0">
                <a:gradFill>
                  <a:gsLst>
                    <a:gs pos="0">
                      <a:srgbClr val="FF4B4B"/>
                    </a:gs>
                    <a:gs pos="100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8" name="subhead 2">
            <a:extLst>
              <a:ext uri="{FF2B5EF4-FFF2-40B4-BE49-F238E27FC236}">
                <a16:creationId xmlns:a16="http://schemas.microsoft.com/office/drawing/2014/main" id="{F39425E0-90BF-E5FE-F105-C62FFF09ACDD}"/>
              </a:ext>
            </a:extLst>
          </p:cNvPr>
          <p:cNvSpPr>
            <a:spLocks noGrp="1"/>
          </p:cNvSpPr>
          <p:nvPr>
            <p:ph type="body" idx="76"/>
          </p:nvPr>
        </p:nvSpPr>
        <p:spPr>
          <a:xfrm>
            <a:off x="3915621" y="1495939"/>
            <a:ext cx="2016000" cy="432000"/>
          </a:xfrm>
          <a:noFill/>
        </p:spPr>
        <p:txBody>
          <a:bodyPr vert="horz" lIns="0" tIns="0" rIns="0" bIns="0" rtlCol="0" anchor="t" anchorCtr="0">
            <a:noAutofit/>
          </a:bodyPr>
          <a:lstStyle>
            <a:lvl1pPr>
              <a:defRPr lang="en-US" cap="all" spc="0" smtClean="0">
                <a:solidFill>
                  <a:schemeClr val="tx1"/>
                </a:solidFill>
                <a:latin typeface="+mn-lt"/>
              </a:defRPr>
            </a:lvl1pPr>
            <a:lvl5pPr>
              <a:defRPr>
                <a:solidFill>
                  <a:schemeClr val="tx2"/>
                </a:solidFill>
              </a:defRPr>
            </a:lvl5pPr>
          </a:lstStyle>
          <a:p>
            <a:pPr lvl="0">
              <a:lnSpc>
                <a:spcPts val="1600"/>
              </a:lnSpc>
              <a:spcBef>
                <a:spcPts val="0"/>
              </a:spcBef>
              <a:spcAft>
                <a:spcPts val="0"/>
              </a:spcAft>
            </a:pPr>
            <a:r>
              <a:rPr lang="de-DE"/>
              <a:t>Mastertextformat bearbeiten</a:t>
            </a:r>
          </a:p>
        </p:txBody>
      </p:sp>
      <p:sp>
        <p:nvSpPr>
          <p:cNvPr id="9" name="Icon-placeholder 2">
            <a:extLst>
              <a:ext uri="{FF2B5EF4-FFF2-40B4-BE49-F238E27FC236}">
                <a16:creationId xmlns:a16="http://schemas.microsoft.com/office/drawing/2014/main" id="{D70E11D8-22E4-1BB0-2CEE-EAEB8AE57491}"/>
              </a:ext>
            </a:extLst>
          </p:cNvPr>
          <p:cNvSpPr>
            <a:spLocks noGrp="1"/>
          </p:cNvSpPr>
          <p:nvPr>
            <p:ph sz="quarter" idx="48"/>
          </p:nvPr>
        </p:nvSpPr>
        <p:spPr>
          <a:xfrm>
            <a:off x="3375621" y="1495939"/>
            <a:ext cx="432000" cy="432000"/>
          </a:xfrm>
        </p:spPr>
        <p:txBody>
          <a:bodyPr rIns="108000" anchor="t"/>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70" name="text 1">
            <a:extLst>
              <a:ext uri="{FF2B5EF4-FFF2-40B4-BE49-F238E27FC236}">
                <a16:creationId xmlns:a16="http://schemas.microsoft.com/office/drawing/2014/main" id="{F5B698AB-1131-C547-D24A-AD8CCAF6CE61}"/>
              </a:ext>
            </a:extLst>
          </p:cNvPr>
          <p:cNvSpPr>
            <a:spLocks noGrp="1"/>
          </p:cNvSpPr>
          <p:nvPr>
            <p:ph type="body" sz="quarter" idx="29"/>
          </p:nvPr>
        </p:nvSpPr>
        <p:spPr>
          <a:xfrm>
            <a:off x="536602" y="2205544"/>
            <a:ext cx="2556000" cy="3960000"/>
          </a:xfrm>
          <a:prstGeom prst="rect">
            <a:avLst/>
          </a:prstGeom>
          <a:solidFill>
            <a:schemeClr val="bg1"/>
          </a:solidFill>
          <a:ln>
            <a:noFill/>
          </a:ln>
          <a:effectLst/>
        </p:spPr>
        <p:txBody>
          <a:bodyPr vert="horz" lIns="0" tIns="0" rIns="180000" bIns="0" rtlCol="0">
            <a:noAutofit/>
          </a:bodyPr>
          <a:lstStyle>
            <a:lvl1pPr>
              <a:defRPr lang="en-US" sz="1200" dirty="0"/>
            </a:lvl1pPr>
            <a:lvl2pPr>
              <a:defRPr lang="en-US" sz="1200" dirty="0"/>
            </a:lvl2pPr>
            <a:lvl3pPr>
              <a:defRPr lang="en-US" sz="1200" dirty="0"/>
            </a:lvl3pPr>
            <a:lvl4pPr>
              <a:defRPr lang="en-US" sz="1200" dirty="0"/>
            </a:lvl4pPr>
            <a:lvl5pPr>
              <a:defRPr lang="en-US" sz="1400" b="0" kern="1200" spc="40" baseline="0" noProof="0" dirty="0">
                <a:gradFill>
                  <a:gsLst>
                    <a:gs pos="0">
                      <a:srgbClr val="FF4B4B"/>
                    </a:gs>
                    <a:gs pos="100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10" name="subhead 1">
            <a:extLst>
              <a:ext uri="{FF2B5EF4-FFF2-40B4-BE49-F238E27FC236}">
                <a16:creationId xmlns:a16="http://schemas.microsoft.com/office/drawing/2014/main" id="{B94A39BB-A1D0-73B8-7C78-9D5EF776744D}"/>
              </a:ext>
            </a:extLst>
          </p:cNvPr>
          <p:cNvSpPr>
            <a:spLocks noGrp="1"/>
          </p:cNvSpPr>
          <p:nvPr>
            <p:ph type="body" idx="63"/>
          </p:nvPr>
        </p:nvSpPr>
        <p:spPr>
          <a:xfrm>
            <a:off x="1076602" y="1495939"/>
            <a:ext cx="2016000" cy="432000"/>
          </a:xfrm>
          <a:noFill/>
        </p:spPr>
        <p:txBody>
          <a:bodyPr vert="horz" lIns="0" tIns="0" rIns="0" bIns="0" rtlCol="0" anchor="t" anchorCtr="0">
            <a:noAutofit/>
          </a:bodyPr>
          <a:lstStyle>
            <a:lvl1pPr>
              <a:defRPr lang="en-US" cap="all" spc="0" smtClean="0">
                <a:solidFill>
                  <a:schemeClr val="tx1"/>
                </a:solidFill>
                <a:latin typeface="+mn-lt"/>
              </a:defRPr>
            </a:lvl1pPr>
            <a:lvl5pPr>
              <a:defRPr>
                <a:solidFill>
                  <a:schemeClr val="tx2"/>
                </a:solidFill>
              </a:defRPr>
            </a:lvl5pPr>
          </a:lstStyle>
          <a:p>
            <a:pPr lvl="0">
              <a:lnSpc>
                <a:spcPts val="1600"/>
              </a:lnSpc>
              <a:spcBef>
                <a:spcPts val="0"/>
              </a:spcBef>
              <a:spcAft>
                <a:spcPts val="0"/>
              </a:spcAft>
            </a:pPr>
            <a:r>
              <a:rPr lang="de-DE"/>
              <a:t>Mastertextformat bearbeiten</a:t>
            </a:r>
          </a:p>
        </p:txBody>
      </p:sp>
      <p:sp>
        <p:nvSpPr>
          <p:cNvPr id="11" name="icon-placeholder 1">
            <a:extLst>
              <a:ext uri="{FF2B5EF4-FFF2-40B4-BE49-F238E27FC236}">
                <a16:creationId xmlns:a16="http://schemas.microsoft.com/office/drawing/2014/main" id="{22BE5786-D506-9333-7BCF-B840E043FBB2}"/>
              </a:ext>
            </a:extLst>
          </p:cNvPr>
          <p:cNvSpPr>
            <a:spLocks noGrp="1"/>
          </p:cNvSpPr>
          <p:nvPr>
            <p:ph sz="quarter" idx="23"/>
          </p:nvPr>
        </p:nvSpPr>
        <p:spPr>
          <a:xfrm>
            <a:off x="559774" y="1495939"/>
            <a:ext cx="432000" cy="432000"/>
          </a:xfrm>
        </p:spPr>
        <p:txBody>
          <a:bodyPr rIns="108000" anchor="t"/>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75" name="title">
            <a:extLst>
              <a:ext uri="{FF2B5EF4-FFF2-40B4-BE49-F238E27FC236}">
                <a16:creationId xmlns:a16="http://schemas.microsoft.com/office/drawing/2014/main" id="{FAF29352-6CFD-356E-04FF-146566787C4B}"/>
              </a:ext>
            </a:extLst>
          </p:cNvPr>
          <p:cNvSpPr>
            <a:spLocks noGrp="1"/>
          </p:cNvSpPr>
          <p:nvPr>
            <p:ph type="title"/>
          </p:nvPr>
        </p:nvSpPr>
        <p:spPr>
          <a:xfrm>
            <a:off x="540000" y="622301"/>
            <a:ext cx="8208000" cy="648000"/>
          </a:xfrm>
        </p:spPr>
        <p:txBody>
          <a:bodyPr/>
          <a:lstStyle/>
          <a:p>
            <a:r>
              <a:rPr lang="de-DE"/>
              <a:t>Mastertitelformat bearbeiten</a:t>
            </a:r>
            <a:endParaRPr lang="en-US"/>
          </a:p>
        </p:txBody>
      </p:sp>
      <p:sp>
        <p:nvSpPr>
          <p:cNvPr id="74" name="navigation">
            <a:extLst>
              <a:ext uri="{FF2B5EF4-FFF2-40B4-BE49-F238E27FC236}">
                <a16:creationId xmlns:a16="http://schemas.microsoft.com/office/drawing/2014/main" id="{FAAB39D1-6F84-16FA-0F65-D7F3CF76FFED}"/>
              </a:ext>
            </a:extLst>
          </p:cNvPr>
          <p:cNvSpPr>
            <a:spLocks noGrp="1"/>
          </p:cNvSpPr>
          <p:nvPr>
            <p:ph type="body" sz="quarter" idx="14"/>
          </p:nvPr>
        </p:nvSpPr>
        <p:spPr>
          <a:xfrm>
            <a:off x="576000" y="396000"/>
            <a:ext cx="8172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449202251"/>
      </p:ext>
    </p:extLst>
  </p:cSld>
  <p:clrMapOvr>
    <a:masterClrMapping/>
  </p:clrMapOvr>
  <p:extLst>
    <p:ext uri="{DCECCB84-F9BA-43D5-87BE-67443E8EF086}">
      <p15:sldGuideLst xmlns:p15="http://schemas.microsoft.com/office/powerpoint/2012/main">
        <p15:guide id="2" orient="horz" pos="2160">
          <p15:clr>
            <a:srgbClr val="FBAE40"/>
          </p15:clr>
        </p15:guide>
        <p15:guide id="3" orient="horz" pos="120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   022b : references : content left : picture right : citiation right">
    <p:spTree>
      <p:nvGrpSpPr>
        <p:cNvPr id="1" name=""/>
        <p:cNvGrpSpPr/>
        <p:nvPr/>
      </p:nvGrpSpPr>
      <p:grpSpPr>
        <a:xfrm>
          <a:off x="0" y="0"/>
          <a:ext cx="0" cy="0"/>
          <a:chOff x="0" y="0"/>
          <a:chExt cx="0" cy="0"/>
        </a:xfrm>
      </p:grpSpPr>
      <p:sp>
        <p:nvSpPr>
          <p:cNvPr id="39" name="bg gradient">
            <a:extLst>
              <a:ext uri="{FF2B5EF4-FFF2-40B4-BE49-F238E27FC236}">
                <a16:creationId xmlns:a16="http://schemas.microsoft.com/office/drawing/2014/main" id="{D64A880E-B408-A8EF-1752-56090A7E900C}"/>
              </a:ext>
            </a:extLst>
          </p:cNvPr>
          <p:cNvSpPr/>
          <p:nvPr/>
        </p:nvSpPr>
        <p:spPr>
          <a:xfrm>
            <a:off x="8881524" y="0"/>
            <a:ext cx="3310475" cy="6858000"/>
          </a:xfrm>
          <a:prstGeom prst="rect">
            <a:avLst/>
          </a:prstGeom>
          <a:gradFill>
            <a:gsLst>
              <a:gs pos="0">
                <a:srgbClr val="EF4251"/>
              </a:gs>
              <a:gs pos="100000">
                <a:srgbClr val="F4704D"/>
              </a:gs>
            </a:gsLst>
            <a:lin ang="18900000" scaled="0"/>
          </a:gradFill>
          <a:ln w="9525" cap="flat">
            <a:noFill/>
            <a:prstDash val="solid"/>
            <a:miter/>
          </a:ln>
        </p:spPr>
        <p:txBody>
          <a:bodyPr lIns="360000" tIns="432000" rIns="72000" bIns="36000" rtlCol="0" anchor="t" anchorCtr="0"/>
          <a:lstStyle/>
          <a:p>
            <a:pPr lvl="0">
              <a:spcBef>
                <a:spcPts val="600"/>
              </a:spcBef>
              <a:spcAft>
                <a:spcPts val="600"/>
              </a:spcAft>
            </a:pPr>
            <a:endParaRPr lang="en-DE" sz="1600" b="1" i="0" noProof="0" dirty="0" err="1">
              <a:solidFill>
                <a:schemeClr val="bg1"/>
              </a:solidFill>
              <a:effectLst/>
              <a:latin typeface="+mj-lt"/>
            </a:endParaRPr>
          </a:p>
        </p:txBody>
      </p:sp>
      <p:sp>
        <p:nvSpPr>
          <p:cNvPr id="5" name="picture left 11cm">
            <a:extLst>
              <a:ext uri="{FF2B5EF4-FFF2-40B4-BE49-F238E27FC236}">
                <a16:creationId xmlns:a16="http://schemas.microsoft.com/office/drawing/2014/main" id="{07669673-F448-1693-0028-5B9E6376ECF2}"/>
              </a:ext>
            </a:extLst>
          </p:cNvPr>
          <p:cNvSpPr>
            <a:spLocks noGrp="1"/>
          </p:cNvSpPr>
          <p:nvPr>
            <p:ph type="pic" sz="quarter" idx="10"/>
          </p:nvPr>
        </p:nvSpPr>
        <p:spPr>
          <a:xfrm>
            <a:off x="5579375" y="0"/>
            <a:ext cx="3312000" cy="6858000"/>
          </a:xfrm>
          <a:custGeom>
            <a:avLst/>
            <a:gdLst>
              <a:gd name="connsiteX0" fmla="*/ 0 w 4370389"/>
              <a:gd name="connsiteY0" fmla="*/ 0 h 6858000"/>
              <a:gd name="connsiteX1" fmla="*/ 4370389 w 4370389"/>
              <a:gd name="connsiteY1" fmla="*/ 0 h 6858000"/>
              <a:gd name="connsiteX2" fmla="*/ 4370389 w 4370389"/>
              <a:gd name="connsiteY2" fmla="*/ 6858000 h 6858000"/>
              <a:gd name="connsiteX3" fmla="*/ 0 w 43703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9" h="6858000">
                <a:moveTo>
                  <a:pt x="0" y="0"/>
                </a:moveTo>
                <a:lnTo>
                  <a:pt x="4370389" y="0"/>
                </a:lnTo>
                <a:lnTo>
                  <a:pt x="437038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20" name="slide number">
            <a:extLst>
              <a:ext uri="{FF2B5EF4-FFF2-40B4-BE49-F238E27FC236}">
                <a16:creationId xmlns:a16="http://schemas.microsoft.com/office/drawing/2014/main" id="{0005317A-714E-6129-0C03-108F88B10F63}"/>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bg1"/>
                </a:solidFill>
              </a:defRPr>
            </a:lvl1pPr>
          </a:lstStyle>
          <a:p>
            <a:fld id="{FA573BCF-C0F1-4720-B5E7-944FE630E67D}" type="slidenum">
              <a:rPr lang="en-GB" smtClean="0"/>
              <a:pPr/>
              <a:t>‹Nr.›</a:t>
            </a:fld>
            <a:endParaRPr lang="en-GB" dirty="0"/>
          </a:p>
        </p:txBody>
      </p:sp>
      <p:sp>
        <p:nvSpPr>
          <p:cNvPr id="22" name="footer">
            <a:extLst>
              <a:ext uri="{FF2B5EF4-FFF2-40B4-BE49-F238E27FC236}">
                <a16:creationId xmlns:a16="http://schemas.microsoft.com/office/drawing/2014/main" id="{21C5E44E-70EA-7058-57E6-01C1C0DC51AE}"/>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bg1"/>
                </a:solidFill>
              </a:defRPr>
            </a:lvl1pPr>
          </a:lstStyle>
          <a:p>
            <a:r>
              <a:rPr lang="en-GB"/>
              <a:t>valantic layout samples Route B</a:t>
            </a:r>
            <a:endParaRPr lang="nl-NL" dirty="0"/>
          </a:p>
        </p:txBody>
      </p:sp>
      <p:sp>
        <p:nvSpPr>
          <p:cNvPr id="23" name="date">
            <a:extLst>
              <a:ext uri="{FF2B5EF4-FFF2-40B4-BE49-F238E27FC236}">
                <a16:creationId xmlns:a16="http://schemas.microsoft.com/office/drawing/2014/main" id="{D6B2871C-75F6-A225-CE39-62007A086396}"/>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bg1"/>
                </a:solidFill>
              </a:defRPr>
            </a:lvl1pPr>
          </a:lstStyle>
          <a:p>
            <a:r>
              <a:rPr lang="en-US"/>
              <a:t>April 26 2024</a:t>
            </a:r>
            <a:endParaRPr lang="nl-NL" dirty="0"/>
          </a:p>
        </p:txBody>
      </p:sp>
      <p:sp>
        <p:nvSpPr>
          <p:cNvPr id="8" name="text box">
            <a:extLst>
              <a:ext uri="{FF2B5EF4-FFF2-40B4-BE49-F238E27FC236}">
                <a16:creationId xmlns:a16="http://schemas.microsoft.com/office/drawing/2014/main" id="{6FA9A6C5-711D-0B6D-55AB-5E4C59811DCF}"/>
              </a:ext>
            </a:extLst>
          </p:cNvPr>
          <p:cNvSpPr>
            <a:spLocks noGrp="1"/>
          </p:cNvSpPr>
          <p:nvPr>
            <p:ph type="body" idx="1"/>
          </p:nvPr>
        </p:nvSpPr>
        <p:spPr>
          <a:xfrm>
            <a:off x="9430750" y="1476000"/>
            <a:ext cx="2232695" cy="4680000"/>
          </a:xfrm>
          <a:prstGeom prst="roundRect">
            <a:avLst>
              <a:gd name="adj" fmla="val 0"/>
            </a:avLst>
          </a:prstGeom>
          <a:noFill/>
          <a:effectLst/>
        </p:spPr>
        <p:txBody>
          <a:bodyPr lIns="0" tIns="360000" rIns="0" bIns="360000" anchor="ctr" anchorCtr="0"/>
          <a:lstStyle>
            <a:lvl1pPr marL="0" indent="0" algn="ctr">
              <a:lnSpc>
                <a:spcPct val="100000"/>
              </a:lnSpc>
              <a:spcBef>
                <a:spcPts val="0"/>
              </a:spcBef>
              <a:spcAft>
                <a:spcPts val="0"/>
              </a:spcAft>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0" name="quote sign">
            <a:extLst>
              <a:ext uri="{FF2B5EF4-FFF2-40B4-BE49-F238E27FC236}">
                <a16:creationId xmlns:a16="http://schemas.microsoft.com/office/drawing/2014/main" id="{360CD8C4-DDA3-F69A-4DF6-7FC09596E4A0}"/>
              </a:ext>
            </a:extLst>
          </p:cNvPr>
          <p:cNvSpPr/>
          <p:nvPr/>
        </p:nvSpPr>
        <p:spPr>
          <a:xfrm>
            <a:off x="9216000" y="612000"/>
            <a:ext cx="681460" cy="576624"/>
          </a:xfrm>
          <a:custGeom>
            <a:avLst/>
            <a:gdLst/>
            <a:ahLst/>
            <a:cxnLst>
              <a:cxn ang="0">
                <a:pos x="wd2" y="hd2"/>
              </a:cxn>
              <a:cxn ang="5400000">
                <a:pos x="wd2" y="hd2"/>
              </a:cxn>
              <a:cxn ang="10800000">
                <a:pos x="wd2" y="hd2"/>
              </a:cxn>
              <a:cxn ang="16200000">
                <a:pos x="wd2" y="hd2"/>
              </a:cxn>
            </a:cxnLst>
            <a:rect l="0" t="0" r="r" b="b"/>
            <a:pathLst>
              <a:path w="21600" h="21600" extrusionOk="0">
                <a:moveTo>
                  <a:pt x="9906" y="12830"/>
                </a:moveTo>
                <a:cubicBezTo>
                  <a:pt x="9906" y="18677"/>
                  <a:pt x="9906" y="18677"/>
                  <a:pt x="9906" y="18677"/>
                </a:cubicBezTo>
                <a:cubicBezTo>
                  <a:pt x="9906" y="19489"/>
                  <a:pt x="9631" y="20301"/>
                  <a:pt x="9218" y="20788"/>
                </a:cubicBezTo>
                <a:cubicBezTo>
                  <a:pt x="8668" y="21438"/>
                  <a:pt x="8117" y="21600"/>
                  <a:pt x="7429" y="21600"/>
                </a:cubicBezTo>
                <a:cubicBezTo>
                  <a:pt x="2476" y="21600"/>
                  <a:pt x="2476" y="21600"/>
                  <a:pt x="2476" y="21600"/>
                </a:cubicBezTo>
                <a:cubicBezTo>
                  <a:pt x="1789" y="21600"/>
                  <a:pt x="1101" y="21438"/>
                  <a:pt x="688" y="20788"/>
                </a:cubicBezTo>
                <a:cubicBezTo>
                  <a:pt x="138" y="20301"/>
                  <a:pt x="0" y="19489"/>
                  <a:pt x="0" y="18677"/>
                </a:cubicBezTo>
                <a:cubicBezTo>
                  <a:pt x="0" y="7958"/>
                  <a:pt x="0" y="7958"/>
                  <a:pt x="0" y="7958"/>
                </a:cubicBezTo>
                <a:cubicBezTo>
                  <a:pt x="0" y="6821"/>
                  <a:pt x="138" y="5847"/>
                  <a:pt x="413" y="4872"/>
                </a:cubicBezTo>
                <a:cubicBezTo>
                  <a:pt x="825" y="3898"/>
                  <a:pt x="1238" y="3086"/>
                  <a:pt x="1926" y="2274"/>
                </a:cubicBezTo>
                <a:cubicBezTo>
                  <a:pt x="2476" y="1624"/>
                  <a:pt x="3164" y="1137"/>
                  <a:pt x="3990" y="650"/>
                </a:cubicBezTo>
                <a:cubicBezTo>
                  <a:pt x="4815" y="325"/>
                  <a:pt x="5641" y="0"/>
                  <a:pt x="6604" y="0"/>
                </a:cubicBezTo>
                <a:cubicBezTo>
                  <a:pt x="7429" y="0"/>
                  <a:pt x="7429" y="0"/>
                  <a:pt x="7429" y="0"/>
                </a:cubicBezTo>
                <a:cubicBezTo>
                  <a:pt x="7704" y="0"/>
                  <a:pt x="7842" y="162"/>
                  <a:pt x="7980" y="325"/>
                </a:cubicBezTo>
                <a:cubicBezTo>
                  <a:pt x="8255" y="487"/>
                  <a:pt x="8255" y="812"/>
                  <a:pt x="8255" y="974"/>
                </a:cubicBezTo>
                <a:cubicBezTo>
                  <a:pt x="8255" y="2923"/>
                  <a:pt x="8255" y="2923"/>
                  <a:pt x="8255" y="2923"/>
                </a:cubicBezTo>
                <a:cubicBezTo>
                  <a:pt x="8255" y="3248"/>
                  <a:pt x="8255" y="3573"/>
                  <a:pt x="7980" y="3735"/>
                </a:cubicBezTo>
                <a:cubicBezTo>
                  <a:pt x="7842" y="3898"/>
                  <a:pt x="7704" y="4060"/>
                  <a:pt x="7429" y="4060"/>
                </a:cubicBezTo>
                <a:cubicBezTo>
                  <a:pt x="6604" y="4060"/>
                  <a:pt x="6604" y="4060"/>
                  <a:pt x="6604" y="4060"/>
                </a:cubicBezTo>
                <a:cubicBezTo>
                  <a:pt x="5641" y="4060"/>
                  <a:pt x="4953" y="4385"/>
                  <a:pt x="4265" y="5197"/>
                </a:cubicBezTo>
                <a:cubicBezTo>
                  <a:pt x="3577" y="5847"/>
                  <a:pt x="3302" y="6821"/>
                  <a:pt x="3302" y="7958"/>
                </a:cubicBezTo>
                <a:cubicBezTo>
                  <a:pt x="3302" y="8445"/>
                  <a:pt x="3302" y="8445"/>
                  <a:pt x="3302" y="8445"/>
                </a:cubicBezTo>
                <a:cubicBezTo>
                  <a:pt x="3302" y="8770"/>
                  <a:pt x="3439" y="9095"/>
                  <a:pt x="3577" y="9420"/>
                </a:cubicBezTo>
                <a:cubicBezTo>
                  <a:pt x="3852" y="9744"/>
                  <a:pt x="4127" y="9907"/>
                  <a:pt x="4540" y="9907"/>
                </a:cubicBezTo>
                <a:cubicBezTo>
                  <a:pt x="7429" y="9907"/>
                  <a:pt x="7429" y="9907"/>
                  <a:pt x="7429" y="9907"/>
                </a:cubicBezTo>
                <a:cubicBezTo>
                  <a:pt x="8117" y="9907"/>
                  <a:pt x="8668" y="10232"/>
                  <a:pt x="9218" y="10719"/>
                </a:cubicBezTo>
                <a:cubicBezTo>
                  <a:pt x="9631" y="11368"/>
                  <a:pt x="9906" y="12018"/>
                  <a:pt x="9906" y="12830"/>
                </a:cubicBezTo>
                <a:close/>
                <a:moveTo>
                  <a:pt x="21600" y="12830"/>
                </a:moveTo>
                <a:cubicBezTo>
                  <a:pt x="21600" y="18677"/>
                  <a:pt x="21600" y="18677"/>
                  <a:pt x="21600" y="18677"/>
                </a:cubicBezTo>
                <a:cubicBezTo>
                  <a:pt x="21600" y="19489"/>
                  <a:pt x="21325" y="20301"/>
                  <a:pt x="20912" y="20788"/>
                </a:cubicBezTo>
                <a:cubicBezTo>
                  <a:pt x="20362" y="21438"/>
                  <a:pt x="19811" y="21600"/>
                  <a:pt x="19124" y="21600"/>
                </a:cubicBezTo>
                <a:cubicBezTo>
                  <a:pt x="14033" y="21600"/>
                  <a:pt x="14033" y="21600"/>
                  <a:pt x="14033" y="21600"/>
                </a:cubicBezTo>
                <a:cubicBezTo>
                  <a:pt x="13345" y="21600"/>
                  <a:pt x="12795" y="21438"/>
                  <a:pt x="12382" y="20788"/>
                </a:cubicBezTo>
                <a:cubicBezTo>
                  <a:pt x="11832" y="20301"/>
                  <a:pt x="11557" y="19489"/>
                  <a:pt x="11557" y="18677"/>
                </a:cubicBezTo>
                <a:cubicBezTo>
                  <a:pt x="11557" y="7958"/>
                  <a:pt x="11557" y="7958"/>
                  <a:pt x="11557" y="7958"/>
                </a:cubicBezTo>
                <a:cubicBezTo>
                  <a:pt x="11557" y="6821"/>
                  <a:pt x="11832" y="5847"/>
                  <a:pt x="12107" y="4872"/>
                </a:cubicBezTo>
                <a:cubicBezTo>
                  <a:pt x="12520" y="3898"/>
                  <a:pt x="12932" y="3086"/>
                  <a:pt x="13620" y="2274"/>
                </a:cubicBezTo>
                <a:cubicBezTo>
                  <a:pt x="14171" y="1624"/>
                  <a:pt x="14859" y="1137"/>
                  <a:pt x="15684" y="650"/>
                </a:cubicBezTo>
                <a:cubicBezTo>
                  <a:pt x="16510" y="325"/>
                  <a:pt x="17335" y="0"/>
                  <a:pt x="18298" y="0"/>
                </a:cubicBezTo>
                <a:cubicBezTo>
                  <a:pt x="19124" y="0"/>
                  <a:pt x="19124" y="0"/>
                  <a:pt x="19124" y="0"/>
                </a:cubicBezTo>
                <a:cubicBezTo>
                  <a:pt x="19261" y="0"/>
                  <a:pt x="19536" y="162"/>
                  <a:pt x="19674" y="325"/>
                </a:cubicBezTo>
                <a:cubicBezTo>
                  <a:pt x="19811" y="487"/>
                  <a:pt x="19949" y="812"/>
                  <a:pt x="19949" y="974"/>
                </a:cubicBezTo>
                <a:cubicBezTo>
                  <a:pt x="19949" y="2923"/>
                  <a:pt x="19949" y="2923"/>
                  <a:pt x="19949" y="2923"/>
                </a:cubicBezTo>
                <a:cubicBezTo>
                  <a:pt x="19949" y="3248"/>
                  <a:pt x="19811" y="3573"/>
                  <a:pt x="19674" y="3735"/>
                </a:cubicBezTo>
                <a:cubicBezTo>
                  <a:pt x="19536" y="3898"/>
                  <a:pt x="19261" y="4060"/>
                  <a:pt x="19124" y="4060"/>
                </a:cubicBezTo>
                <a:cubicBezTo>
                  <a:pt x="18298" y="4060"/>
                  <a:pt x="18298" y="4060"/>
                  <a:pt x="18298" y="4060"/>
                </a:cubicBezTo>
                <a:cubicBezTo>
                  <a:pt x="17335" y="4060"/>
                  <a:pt x="16510" y="4385"/>
                  <a:pt x="15959" y="5197"/>
                </a:cubicBezTo>
                <a:cubicBezTo>
                  <a:pt x="15271" y="5847"/>
                  <a:pt x="14996" y="6821"/>
                  <a:pt x="14996" y="7958"/>
                </a:cubicBezTo>
                <a:cubicBezTo>
                  <a:pt x="14996" y="8445"/>
                  <a:pt x="14996" y="8445"/>
                  <a:pt x="14996" y="8445"/>
                </a:cubicBezTo>
                <a:cubicBezTo>
                  <a:pt x="14996" y="8770"/>
                  <a:pt x="14996" y="9095"/>
                  <a:pt x="15271" y="9420"/>
                </a:cubicBezTo>
                <a:cubicBezTo>
                  <a:pt x="15546" y="9744"/>
                  <a:pt x="15822" y="9907"/>
                  <a:pt x="16234" y="9907"/>
                </a:cubicBezTo>
                <a:cubicBezTo>
                  <a:pt x="19124" y="9907"/>
                  <a:pt x="19124" y="9907"/>
                  <a:pt x="19124" y="9907"/>
                </a:cubicBezTo>
                <a:cubicBezTo>
                  <a:pt x="19811" y="9907"/>
                  <a:pt x="20362" y="10232"/>
                  <a:pt x="20912" y="10719"/>
                </a:cubicBezTo>
                <a:cubicBezTo>
                  <a:pt x="21325" y="11368"/>
                  <a:pt x="21600" y="12018"/>
                  <a:pt x="21600" y="12830"/>
                </a:cubicBezTo>
                <a:close/>
              </a:path>
            </a:pathLst>
          </a:custGeom>
          <a:solidFill>
            <a:schemeClr val="bg1">
              <a:alpha val="20000"/>
            </a:schemeClr>
          </a:solidFill>
          <a:ln>
            <a:noFill/>
          </a:ln>
        </p:spPr>
        <p:txBody>
          <a:bodyPr vert="horz" wrap="square" lIns="91428" tIns="45714" rIns="91428" bIns="45714" numCol="1" anchor="t" anchorCtr="0" compatLnSpc="1">
            <a:prstTxWarp prst="textNoShape">
              <a:avLst/>
            </a:prstTxWarp>
            <a:noAutofit/>
          </a:bodyPr>
          <a:lstStyle/>
          <a:p>
            <a:pPr algn="r"/>
            <a:endParaRPr sz="1224">
              <a:solidFill>
                <a:schemeClr val="tx1">
                  <a:lumMod val="65000"/>
                  <a:lumOff val="35000"/>
                </a:schemeClr>
              </a:solidFill>
            </a:endParaRPr>
          </a:p>
        </p:txBody>
      </p:sp>
      <p:sp>
        <p:nvSpPr>
          <p:cNvPr id="7" name="industry">
            <a:extLst>
              <a:ext uri="{FF2B5EF4-FFF2-40B4-BE49-F238E27FC236}">
                <a16:creationId xmlns:a16="http://schemas.microsoft.com/office/drawing/2014/main" id="{59A98800-DA0A-0FA8-DBD9-591CCB872EF5}"/>
              </a:ext>
            </a:extLst>
          </p:cNvPr>
          <p:cNvSpPr>
            <a:spLocks noGrp="1"/>
          </p:cNvSpPr>
          <p:nvPr>
            <p:ph type="body" idx="16"/>
          </p:nvPr>
        </p:nvSpPr>
        <p:spPr>
          <a:xfrm>
            <a:off x="5891927" y="1507551"/>
            <a:ext cx="2880000" cy="360000"/>
          </a:xfrm>
        </p:spPr>
        <p:txBody>
          <a:bodyPr anchor="t" anchorCtr="0"/>
          <a:lstStyle>
            <a:lvl1pPr marL="0" indent="0">
              <a:lnSpc>
                <a:spcPct val="100000"/>
              </a:lnSpc>
              <a:buNone/>
              <a:defRPr sz="1200" b="0" cap="all" spc="10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2" name="logo placeholder white">
            <a:extLst>
              <a:ext uri="{FF2B5EF4-FFF2-40B4-BE49-F238E27FC236}">
                <a16:creationId xmlns:a16="http://schemas.microsoft.com/office/drawing/2014/main" id="{3DE755F3-9F3D-FA53-9A94-CFFA43974D1C}"/>
              </a:ext>
            </a:extLst>
          </p:cNvPr>
          <p:cNvSpPr>
            <a:spLocks noGrp="1" noChangeAspect="1"/>
          </p:cNvSpPr>
          <p:nvPr>
            <p:ph type="pic" sz="quarter" idx="66" hasCustomPrompt="1"/>
          </p:nvPr>
        </p:nvSpPr>
        <p:spPr>
          <a:xfrm>
            <a:off x="5890302" y="441936"/>
            <a:ext cx="2160000" cy="900000"/>
          </a:xfrm>
          <a:prstGeom prst="roundRect">
            <a:avLst>
              <a:gd name="adj" fmla="val 12587"/>
            </a:avLst>
          </a:prstGeom>
          <a:solidFill>
            <a:schemeClr val="bg1"/>
          </a:solidFill>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en-US"/>
              <a:t> </a:t>
            </a:r>
            <a:endParaRPr lang="en-US" dirty="0"/>
          </a:p>
        </p:txBody>
      </p:sp>
      <p:sp>
        <p:nvSpPr>
          <p:cNvPr id="13" name="customer logo">
            <a:extLst>
              <a:ext uri="{FF2B5EF4-FFF2-40B4-BE49-F238E27FC236}">
                <a16:creationId xmlns:a16="http://schemas.microsoft.com/office/drawing/2014/main" id="{9FF0D743-933C-8EB2-55C0-BB3DD8567E31}"/>
              </a:ext>
            </a:extLst>
          </p:cNvPr>
          <p:cNvSpPr>
            <a:spLocks noGrp="1" noChangeAspect="1"/>
          </p:cNvSpPr>
          <p:nvPr>
            <p:ph type="pic" sz="quarter" idx="46" hasCustomPrompt="1"/>
          </p:nvPr>
        </p:nvSpPr>
        <p:spPr>
          <a:xfrm>
            <a:off x="6106302" y="603936"/>
            <a:ext cx="1728000" cy="576000"/>
          </a:xfrm>
          <a:prstGeom prst="roundRect">
            <a:avLst>
              <a:gd name="adj" fmla="val 7414"/>
            </a:avLst>
          </a:prstGeom>
          <a:noFill/>
        </p:spPr>
        <p:txBody>
          <a:bodyPr anchor="ctr" anchorCtr="1">
            <a:noAutofit/>
          </a:bodyPr>
          <a:lstStyle>
            <a:lvl1pPr algn="ctr">
              <a:defRPr/>
            </a:lvl1p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 </a:t>
            </a:r>
            <a:endParaRPr lang="en-US" dirty="0"/>
          </a:p>
        </p:txBody>
      </p:sp>
      <p:sp>
        <p:nvSpPr>
          <p:cNvPr id="11" name="content">
            <a:extLst>
              <a:ext uri="{FF2B5EF4-FFF2-40B4-BE49-F238E27FC236}">
                <a16:creationId xmlns:a16="http://schemas.microsoft.com/office/drawing/2014/main" id="{55460CD8-7F20-3092-8A14-190F979D7794}"/>
              </a:ext>
            </a:extLst>
          </p:cNvPr>
          <p:cNvSpPr>
            <a:spLocks noGrp="1"/>
          </p:cNvSpPr>
          <p:nvPr>
            <p:ph sz="quarter" idx="15"/>
          </p:nvPr>
        </p:nvSpPr>
        <p:spPr>
          <a:xfrm>
            <a:off x="539999" y="1989138"/>
            <a:ext cx="4680000" cy="4166862"/>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4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p:txBody>
      </p:sp>
      <p:sp>
        <p:nvSpPr>
          <p:cNvPr id="21" name="title">
            <a:extLst>
              <a:ext uri="{FF2B5EF4-FFF2-40B4-BE49-F238E27FC236}">
                <a16:creationId xmlns:a16="http://schemas.microsoft.com/office/drawing/2014/main" id="{24D79DE1-5191-A9D7-9EAB-2EC78ABFA849}"/>
              </a:ext>
            </a:extLst>
          </p:cNvPr>
          <p:cNvSpPr>
            <a:spLocks noGrp="1"/>
          </p:cNvSpPr>
          <p:nvPr>
            <p:ph type="title"/>
          </p:nvPr>
        </p:nvSpPr>
        <p:spPr>
          <a:xfrm>
            <a:off x="540000" y="622301"/>
            <a:ext cx="4680000" cy="648000"/>
          </a:xfrm>
        </p:spPr>
        <p:txBody>
          <a:bodyPr vert="horz"/>
          <a:lstStyle/>
          <a:p>
            <a:r>
              <a:rPr lang="de-DE"/>
              <a:t>Mastertitelformat bearbeiten</a:t>
            </a:r>
            <a:endParaRPr lang="en-US"/>
          </a:p>
        </p:txBody>
      </p:sp>
      <p:sp>
        <p:nvSpPr>
          <p:cNvPr id="16" name="navigation">
            <a:extLst>
              <a:ext uri="{FF2B5EF4-FFF2-40B4-BE49-F238E27FC236}">
                <a16:creationId xmlns:a16="http://schemas.microsoft.com/office/drawing/2014/main" id="{756EB541-0893-E536-3461-F1B4F0BC3B3C}"/>
              </a:ext>
            </a:extLst>
          </p:cNvPr>
          <p:cNvSpPr>
            <a:spLocks noGrp="1"/>
          </p:cNvSpPr>
          <p:nvPr>
            <p:ph type="body" sz="quarter" idx="14"/>
          </p:nvPr>
        </p:nvSpPr>
        <p:spPr>
          <a:xfrm>
            <a:off x="576000" y="396000"/>
            <a:ext cx="468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42658079"/>
      </p:ext>
    </p:extLst>
  </p:cSld>
  <p:clrMapOvr>
    <a:masterClrMapping/>
  </p:clrMapOvr>
  <p:extLst>
    <p:ext uri="{DCECCB84-F9BA-43D5-87BE-67443E8EF086}">
      <p15:sldGuideLst xmlns:p15="http://schemas.microsoft.com/office/powerpoint/2012/main">
        <p15:guide id="2" orient="horz" pos="125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  023a : 4 contents : picture above">
    <p:spTree>
      <p:nvGrpSpPr>
        <p:cNvPr id="1" name=""/>
        <p:cNvGrpSpPr/>
        <p:nvPr/>
      </p:nvGrpSpPr>
      <p:grpSpPr>
        <a:xfrm>
          <a:off x="0" y="0"/>
          <a:ext cx="0" cy="0"/>
          <a:chOff x="0" y="0"/>
          <a:chExt cx="0" cy="0"/>
        </a:xfrm>
      </p:grpSpPr>
      <p:sp>
        <p:nvSpPr>
          <p:cNvPr id="12" name="slide number">
            <a:extLst>
              <a:ext uri="{FF2B5EF4-FFF2-40B4-BE49-F238E27FC236}">
                <a16:creationId xmlns:a16="http://schemas.microsoft.com/office/drawing/2014/main" id="{7587F319-9817-5E8C-3267-E8B5F5655F9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3" name="footer">
            <a:extLst>
              <a:ext uri="{FF2B5EF4-FFF2-40B4-BE49-F238E27FC236}">
                <a16:creationId xmlns:a16="http://schemas.microsoft.com/office/drawing/2014/main" id="{F5CDEDD9-5767-BF78-73FE-C497E457838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4" name="date">
            <a:extLst>
              <a:ext uri="{FF2B5EF4-FFF2-40B4-BE49-F238E27FC236}">
                <a16:creationId xmlns:a16="http://schemas.microsoft.com/office/drawing/2014/main" id="{184078D7-3AA4-7E7A-E9A2-747978251287}"/>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1" name="content 4">
            <a:extLst>
              <a:ext uri="{FF2B5EF4-FFF2-40B4-BE49-F238E27FC236}">
                <a16:creationId xmlns:a16="http://schemas.microsoft.com/office/drawing/2014/main" id="{3830FDEA-EA00-C121-8031-B1412F780ADB}"/>
              </a:ext>
            </a:extLst>
          </p:cNvPr>
          <p:cNvSpPr>
            <a:spLocks noGrp="1"/>
          </p:cNvSpPr>
          <p:nvPr>
            <p:ph sz="quarter" idx="24"/>
          </p:nvPr>
        </p:nvSpPr>
        <p:spPr>
          <a:xfrm>
            <a:off x="9589138" y="2138200"/>
            <a:ext cx="2052000" cy="4032000"/>
          </a:xfrm>
          <a:prstGeom prst="rect">
            <a:avLst/>
          </a:prstGeom>
          <a:noFill/>
        </p:spPr>
        <p:txBody>
          <a:bodyPr vert="horz" lIns="0" tIns="0" rIns="0" bIns="0" rtlCol="0">
            <a:noAutofit/>
          </a:bodyPr>
          <a:lstStyle>
            <a:lvl1pPr algn="l" defTabSz="914400" rtl="0" eaLnBrk="1" latinLnBrk="0" hangingPunct="1">
              <a:tabLst>
                <a:tab pos="182563" algn="l"/>
              </a:tabLst>
              <a:defRPr lang="en-US" sz="1000" b="0" kern="1200" baseline="0" noProof="0">
                <a:solidFill>
                  <a:schemeClr val="tx2"/>
                </a:solidFill>
                <a:latin typeface="+mn-lt"/>
                <a:ea typeface="+mn-ea"/>
                <a:cs typeface="+mn-cs"/>
              </a:defRPr>
            </a:lvl1pPr>
            <a:lvl2pPr algn="l" defTabSz="914400" rtl="0" eaLnBrk="1" latinLnBrk="0" hangingPunct="1">
              <a:tabLst>
                <a:tab pos="182563" algn="l"/>
              </a:tabLst>
              <a:defRPr lang="en-US" sz="1000" b="0" kern="1200" baseline="0" noProof="0">
                <a:solidFill>
                  <a:schemeClr val="tx2"/>
                </a:solidFill>
                <a:latin typeface="+mn-lt"/>
                <a:ea typeface="+mn-ea"/>
                <a:cs typeface="+mn-cs"/>
              </a:defRPr>
            </a:lvl2pPr>
            <a:lvl3pPr algn="l" defTabSz="914400" rtl="0" eaLnBrk="1" latinLnBrk="0" hangingPunct="1">
              <a:tabLst>
                <a:tab pos="182563" algn="l"/>
              </a:tabLst>
              <a:defRPr lang="en-US" sz="1000" b="0" kern="1200" baseline="0" noProof="0">
                <a:solidFill>
                  <a:schemeClr val="tx2"/>
                </a:solidFill>
                <a:latin typeface="+mn-lt"/>
                <a:ea typeface="+mn-ea"/>
                <a:cs typeface="+mn-cs"/>
              </a:defRPr>
            </a:lvl3pPr>
            <a:lvl4pPr algn="l" defTabSz="914400" rtl="0" eaLnBrk="1" latinLnBrk="0" hangingPunct="1">
              <a:tabLst>
                <a:tab pos="182563" algn="l"/>
              </a:tabLst>
              <a:defRPr lang="en-US" sz="1000" b="0" kern="1200" baseline="0" noProof="0">
                <a:solidFill>
                  <a:schemeClr val="tx2"/>
                </a:solidFill>
                <a:latin typeface="+mn-lt"/>
                <a:ea typeface="+mn-ea"/>
                <a:cs typeface="+mn-cs"/>
              </a:defRPr>
            </a:lvl4pPr>
            <a:lvl5pPr algn="l" defTabSz="914400" rtl="0" eaLnBrk="1" latinLnBrk="0" hangingPunct="1">
              <a:tabLst>
                <a:tab pos="182563" algn="l"/>
              </a:tabLst>
              <a:defRPr lang="en-US" sz="1000" b="0" kern="1200" baseline="0" noProof="0" dirty="0">
                <a:solidFill>
                  <a:schemeClr val="tx1"/>
                </a:solidFill>
                <a:latin typeface="+mn-lt"/>
                <a:ea typeface="+mn-ea"/>
                <a:cs typeface="+mn-cs"/>
              </a:defRPr>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10" name="content 3">
            <a:extLst>
              <a:ext uri="{FF2B5EF4-FFF2-40B4-BE49-F238E27FC236}">
                <a16:creationId xmlns:a16="http://schemas.microsoft.com/office/drawing/2014/main" id="{18389146-967B-7864-AB07-8E11BE69C32E}"/>
              </a:ext>
            </a:extLst>
          </p:cNvPr>
          <p:cNvSpPr>
            <a:spLocks noGrp="1"/>
          </p:cNvSpPr>
          <p:nvPr>
            <p:ph sz="quarter" idx="23"/>
          </p:nvPr>
        </p:nvSpPr>
        <p:spPr>
          <a:xfrm>
            <a:off x="7388758" y="2138200"/>
            <a:ext cx="2052000" cy="4032000"/>
          </a:xfrm>
          <a:prstGeom prst="rect">
            <a:avLst/>
          </a:prstGeom>
          <a:noFill/>
        </p:spPr>
        <p:txBody>
          <a:bodyPr vert="horz" lIns="0" tIns="0" rIns="0" bIns="0" rtlCol="0">
            <a:noAutofit/>
          </a:bodyPr>
          <a:lstStyle>
            <a:lvl1pPr algn="l" defTabSz="914400" rtl="0" eaLnBrk="1" latinLnBrk="0" hangingPunct="1">
              <a:tabLst>
                <a:tab pos="182563" algn="l"/>
              </a:tabLst>
              <a:defRPr lang="en-US" sz="1000" b="0" kern="1200" baseline="0" noProof="0">
                <a:solidFill>
                  <a:schemeClr val="tx2"/>
                </a:solidFill>
                <a:latin typeface="+mn-lt"/>
                <a:ea typeface="+mn-ea"/>
                <a:cs typeface="+mn-cs"/>
              </a:defRPr>
            </a:lvl1pPr>
            <a:lvl2pPr algn="l" defTabSz="914400" rtl="0" eaLnBrk="1" latinLnBrk="0" hangingPunct="1">
              <a:tabLst>
                <a:tab pos="182563" algn="l"/>
              </a:tabLst>
              <a:defRPr lang="en-US" sz="1000" b="0" kern="1200" baseline="0" noProof="0">
                <a:solidFill>
                  <a:schemeClr val="tx2"/>
                </a:solidFill>
                <a:latin typeface="+mn-lt"/>
                <a:ea typeface="+mn-ea"/>
                <a:cs typeface="+mn-cs"/>
              </a:defRPr>
            </a:lvl2pPr>
            <a:lvl3pPr algn="l" defTabSz="914400" rtl="0" eaLnBrk="1" latinLnBrk="0" hangingPunct="1">
              <a:tabLst>
                <a:tab pos="182563" algn="l"/>
              </a:tabLst>
              <a:defRPr lang="en-US" sz="1000" b="0" kern="1200" baseline="0" noProof="0">
                <a:solidFill>
                  <a:schemeClr val="tx2"/>
                </a:solidFill>
                <a:latin typeface="+mn-lt"/>
                <a:ea typeface="+mn-ea"/>
                <a:cs typeface="+mn-cs"/>
              </a:defRPr>
            </a:lvl3pPr>
            <a:lvl4pPr algn="l" defTabSz="914400" rtl="0" eaLnBrk="1" latinLnBrk="0" hangingPunct="1">
              <a:tabLst>
                <a:tab pos="182563" algn="l"/>
              </a:tabLst>
              <a:defRPr lang="en-US" sz="1000" b="0" kern="1200" baseline="0" noProof="0">
                <a:solidFill>
                  <a:schemeClr val="tx2"/>
                </a:solidFill>
                <a:latin typeface="+mn-lt"/>
                <a:ea typeface="+mn-ea"/>
                <a:cs typeface="+mn-cs"/>
              </a:defRPr>
            </a:lvl4pPr>
            <a:lvl5pPr algn="l" defTabSz="914400" rtl="0" eaLnBrk="1" latinLnBrk="0" hangingPunct="1">
              <a:tabLst>
                <a:tab pos="182563" algn="l"/>
              </a:tabLst>
              <a:defRPr lang="en-US" sz="1000" b="0" kern="1200" spc="40" baseline="0" noProof="0" dirty="0">
                <a:solidFill>
                  <a:schemeClr val="tx1"/>
                </a:solidFill>
                <a:latin typeface="+mn-lt"/>
                <a:ea typeface="+mn-ea"/>
                <a:cs typeface="+mn-cs"/>
              </a:defRPr>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5188379" y="2138200"/>
            <a:ext cx="2052000" cy="4032000"/>
          </a:xfrm>
          <a:prstGeom prst="rect">
            <a:avLst/>
          </a:prstGeom>
          <a:noFill/>
        </p:spPr>
        <p:txBody>
          <a:bodyPr vert="horz" lIns="0" tIns="0" rIns="0" bIns="0" rtlCol="0">
            <a:noAutofit/>
          </a:bodyPr>
          <a:lstStyle>
            <a:lvl1pPr algn="l" defTabSz="914400" rtl="0" eaLnBrk="1" latinLnBrk="0" hangingPunct="1">
              <a:tabLst>
                <a:tab pos="182563" algn="l"/>
              </a:tabLst>
              <a:defRPr lang="en-US" sz="1000" b="0" kern="1200" baseline="0" noProof="0">
                <a:solidFill>
                  <a:schemeClr val="tx2"/>
                </a:solidFill>
                <a:latin typeface="+mn-lt"/>
                <a:ea typeface="+mn-ea"/>
                <a:cs typeface="+mn-cs"/>
              </a:defRPr>
            </a:lvl1pPr>
            <a:lvl2pPr algn="l" defTabSz="914400" rtl="0" eaLnBrk="1" latinLnBrk="0" hangingPunct="1">
              <a:tabLst>
                <a:tab pos="182563" algn="l"/>
              </a:tabLst>
              <a:defRPr lang="en-US" sz="1000" b="0" kern="1200" baseline="0" noProof="0">
                <a:solidFill>
                  <a:schemeClr val="tx2"/>
                </a:solidFill>
                <a:latin typeface="+mn-lt"/>
                <a:ea typeface="+mn-ea"/>
                <a:cs typeface="+mn-cs"/>
              </a:defRPr>
            </a:lvl2pPr>
            <a:lvl3pPr algn="l" defTabSz="914400" rtl="0" eaLnBrk="1" latinLnBrk="0" hangingPunct="1">
              <a:tabLst>
                <a:tab pos="182563" algn="l"/>
              </a:tabLst>
              <a:defRPr lang="en-US" sz="1000" b="0" kern="1200" baseline="0" noProof="0">
                <a:solidFill>
                  <a:schemeClr val="tx2"/>
                </a:solidFill>
                <a:latin typeface="+mn-lt"/>
                <a:ea typeface="+mn-ea"/>
                <a:cs typeface="+mn-cs"/>
              </a:defRPr>
            </a:lvl3pPr>
            <a:lvl4pPr algn="l" defTabSz="914400" rtl="0" eaLnBrk="1" latinLnBrk="0" hangingPunct="1">
              <a:tabLst>
                <a:tab pos="182563" algn="l"/>
              </a:tabLst>
              <a:defRPr lang="en-US" sz="1000" b="0" kern="1200" baseline="0" noProof="0">
                <a:solidFill>
                  <a:schemeClr val="tx2"/>
                </a:solidFill>
                <a:latin typeface="+mn-lt"/>
                <a:ea typeface="+mn-ea"/>
                <a:cs typeface="+mn-cs"/>
              </a:defRPr>
            </a:lvl4pPr>
            <a:lvl5pPr algn="l" defTabSz="914400" rtl="0" eaLnBrk="1" latinLnBrk="0" hangingPunct="1">
              <a:tabLst>
                <a:tab pos="182563" algn="l"/>
              </a:tabLst>
              <a:defRPr lang="en-US" sz="1000" b="0" kern="1200" baseline="0" noProof="0" dirty="0">
                <a:solidFill>
                  <a:schemeClr val="tx1"/>
                </a:solidFill>
                <a:latin typeface="+mn-lt"/>
                <a:ea typeface="+mn-ea"/>
                <a:cs typeface="+mn-cs"/>
              </a:defRPr>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39997" y="2138200"/>
            <a:ext cx="4500003" cy="4032000"/>
          </a:xfrm>
          <a:prstGeom prst="rect">
            <a:avLst/>
          </a:prstGeom>
          <a:noFill/>
        </p:spPr>
        <p:txBody>
          <a:bodyPr vert="horz" lIns="0" tIns="0" rIns="0" bIns="0" rtlCol="0">
            <a:noAutofit/>
          </a:bodyPr>
          <a:lstStyle>
            <a:lvl1pPr>
              <a:defRPr lang="en-US" sz="1000" dirty="0"/>
            </a:lvl1pPr>
            <a:lvl2pPr>
              <a:defRPr lang="en-US" sz="1000" dirty="0"/>
            </a:lvl2pPr>
            <a:lvl3pPr>
              <a:defRPr lang="en-US" sz="1000" dirty="0"/>
            </a:lvl3pPr>
            <a:lvl4pPr>
              <a:defRPr lang="en-US" sz="1000" dirty="0"/>
            </a:lvl4pPr>
            <a:lvl5pPr>
              <a:lnSpc>
                <a:spcPts val="1600"/>
              </a:lnSpc>
              <a:spcBef>
                <a:spcPts val="100"/>
              </a:spcBef>
              <a:spcAft>
                <a:spcPts val="100"/>
              </a:spcAft>
              <a:defRPr lang="en-US" sz="1000" dirty="0">
                <a:solidFill>
                  <a:schemeClr val="tx1"/>
                </a:solidFill>
              </a:defRPr>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8" name="picture right">
            <a:extLst>
              <a:ext uri="{FF2B5EF4-FFF2-40B4-BE49-F238E27FC236}">
                <a16:creationId xmlns:a16="http://schemas.microsoft.com/office/drawing/2014/main" id="{500BF364-B154-B732-45F8-3424E506904B}"/>
              </a:ext>
            </a:extLst>
          </p:cNvPr>
          <p:cNvSpPr>
            <a:spLocks noGrp="1"/>
          </p:cNvSpPr>
          <p:nvPr>
            <p:ph type="pic" sz="quarter" idx="19"/>
          </p:nvPr>
        </p:nvSpPr>
        <p:spPr>
          <a:xfrm>
            <a:off x="5188379" y="-101600"/>
            <a:ext cx="6480000" cy="1980000"/>
          </a:xfrm>
          <a:prstGeom prst="roundRect">
            <a:avLst>
              <a:gd name="adj" fmla="val 339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6" name="customer logo">
            <a:extLst>
              <a:ext uri="{FF2B5EF4-FFF2-40B4-BE49-F238E27FC236}">
                <a16:creationId xmlns:a16="http://schemas.microsoft.com/office/drawing/2014/main" id="{6F6BF07D-D104-2E05-4531-3EB7767A3D92}"/>
              </a:ext>
            </a:extLst>
          </p:cNvPr>
          <p:cNvSpPr>
            <a:spLocks noGrp="1"/>
          </p:cNvSpPr>
          <p:nvPr>
            <p:ph type="pic" sz="quarter" idx="46" hasCustomPrompt="1"/>
          </p:nvPr>
        </p:nvSpPr>
        <p:spPr>
          <a:xfrm>
            <a:off x="3707999" y="1044000"/>
            <a:ext cx="1332000" cy="828000"/>
          </a:xfrm>
          <a:prstGeom prst="roundRect">
            <a:avLst>
              <a:gd name="adj" fmla="val 7414"/>
            </a:avLst>
          </a:prstGeom>
          <a:noFill/>
        </p:spPr>
        <p:txBody>
          <a:bodyPr anchor="ctr" anchorCtr="1">
            <a:noAutofit/>
          </a:bodyPr>
          <a:lstStyle>
            <a:lvl1pPr algn="ctr">
              <a:defRPr/>
            </a:lvl1p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 </a:t>
            </a:r>
            <a:endParaRPr lang="en-US" dirty="0"/>
          </a:p>
        </p:txBody>
      </p:sp>
      <p:sp>
        <p:nvSpPr>
          <p:cNvPr id="45" name="subtitle">
            <a:extLst>
              <a:ext uri="{FF2B5EF4-FFF2-40B4-BE49-F238E27FC236}">
                <a16:creationId xmlns:a16="http://schemas.microsoft.com/office/drawing/2014/main" id="{0633A486-8FC4-7B86-52CC-410B63F32E3E}"/>
              </a:ext>
            </a:extLst>
          </p:cNvPr>
          <p:cNvSpPr>
            <a:spLocks noGrp="1"/>
          </p:cNvSpPr>
          <p:nvPr>
            <p:ph type="body" idx="1"/>
          </p:nvPr>
        </p:nvSpPr>
        <p:spPr>
          <a:xfrm>
            <a:off x="539997" y="1497200"/>
            <a:ext cx="3132000" cy="491938"/>
          </a:xfrm>
        </p:spPr>
        <p:txBody>
          <a:bodyPr anchor="t"/>
          <a:lstStyle>
            <a:lvl1pPr marL="0" indent="0">
              <a:lnSpc>
                <a:spcPct val="100000"/>
              </a:lnSpc>
              <a:spcBef>
                <a:spcPts val="0"/>
              </a:spcBef>
              <a:spcAft>
                <a:spcPts val="0"/>
              </a:spcAft>
              <a:buNone/>
              <a:defRPr sz="1800" b="0" spc="70" baseline="0">
                <a:gradFill>
                  <a:gsLst>
                    <a:gs pos="0">
                      <a:srgbClr val="FF4D4A"/>
                    </a:gs>
                    <a:gs pos="100000">
                      <a:srgbClr val="FF744F"/>
                    </a:gs>
                  </a:gsLst>
                  <a:lin ang="18900000" scaled="0"/>
                </a:gra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6" name="title">
            <a:extLst>
              <a:ext uri="{FF2B5EF4-FFF2-40B4-BE49-F238E27FC236}">
                <a16:creationId xmlns:a16="http://schemas.microsoft.com/office/drawing/2014/main" id="{C42A5394-0582-37AA-737C-9A22F650EDD4}"/>
              </a:ext>
            </a:extLst>
          </p:cNvPr>
          <p:cNvSpPr>
            <a:spLocks noGrp="1"/>
          </p:cNvSpPr>
          <p:nvPr>
            <p:ph type="title"/>
          </p:nvPr>
        </p:nvSpPr>
        <p:spPr>
          <a:xfrm>
            <a:off x="540000" y="622301"/>
            <a:ext cx="3132000" cy="828000"/>
          </a:xfrm>
        </p:spPr>
        <p:txBody>
          <a:bodyPr vert="horz" anchor="b"/>
          <a:lstStyle/>
          <a:p>
            <a:r>
              <a:rPr lang="de-DE"/>
              <a:t>Mastertitelformat bearbeiten</a:t>
            </a:r>
            <a:endParaRPr lang="en-US"/>
          </a:p>
        </p:txBody>
      </p:sp>
      <p:sp>
        <p:nvSpPr>
          <p:cNvPr id="5" name="navigation">
            <a:extLst>
              <a:ext uri="{FF2B5EF4-FFF2-40B4-BE49-F238E27FC236}">
                <a16:creationId xmlns:a16="http://schemas.microsoft.com/office/drawing/2014/main" id="{E2DB2781-02B7-8F48-880C-0864DAF6A9C6}"/>
              </a:ext>
            </a:extLst>
          </p:cNvPr>
          <p:cNvSpPr>
            <a:spLocks noGrp="1"/>
          </p:cNvSpPr>
          <p:nvPr>
            <p:ph type="body" sz="quarter" idx="14"/>
          </p:nvPr>
        </p:nvSpPr>
        <p:spPr>
          <a:xfrm>
            <a:off x="576000" y="396000"/>
            <a:ext cx="29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9317627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  023b : 5 contents : 3 pictures">
    <p:spTree>
      <p:nvGrpSpPr>
        <p:cNvPr id="1" name=""/>
        <p:cNvGrpSpPr/>
        <p:nvPr/>
      </p:nvGrpSpPr>
      <p:grpSpPr>
        <a:xfrm>
          <a:off x="0" y="0"/>
          <a:ext cx="0" cy="0"/>
          <a:chOff x="0" y="0"/>
          <a:chExt cx="0" cy="0"/>
        </a:xfrm>
      </p:grpSpPr>
      <p:sp>
        <p:nvSpPr>
          <p:cNvPr id="12" name="slide number">
            <a:extLst>
              <a:ext uri="{FF2B5EF4-FFF2-40B4-BE49-F238E27FC236}">
                <a16:creationId xmlns:a16="http://schemas.microsoft.com/office/drawing/2014/main" id="{7587F319-9817-5E8C-3267-E8B5F5655F9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3" name="footer">
            <a:extLst>
              <a:ext uri="{FF2B5EF4-FFF2-40B4-BE49-F238E27FC236}">
                <a16:creationId xmlns:a16="http://schemas.microsoft.com/office/drawing/2014/main" id="{F5CDEDD9-5767-BF78-73FE-C497E457838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4" name="date">
            <a:extLst>
              <a:ext uri="{FF2B5EF4-FFF2-40B4-BE49-F238E27FC236}">
                <a16:creationId xmlns:a16="http://schemas.microsoft.com/office/drawing/2014/main" id="{184078D7-3AA4-7E7A-E9A2-747978251287}"/>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1" name="content C">
            <a:extLst>
              <a:ext uri="{FF2B5EF4-FFF2-40B4-BE49-F238E27FC236}">
                <a16:creationId xmlns:a16="http://schemas.microsoft.com/office/drawing/2014/main" id="{3830FDEA-EA00-C121-8031-B1412F780ADB}"/>
              </a:ext>
            </a:extLst>
          </p:cNvPr>
          <p:cNvSpPr>
            <a:spLocks noGrp="1"/>
          </p:cNvSpPr>
          <p:nvPr>
            <p:ph sz="quarter" idx="24" hasCustomPrompt="1"/>
          </p:nvPr>
        </p:nvSpPr>
        <p:spPr>
          <a:xfrm>
            <a:off x="9769138" y="3283974"/>
            <a:ext cx="1872000" cy="2880000"/>
          </a:xfrm>
          <a:prstGeom prst="rect">
            <a:avLst/>
          </a:prstGeom>
          <a:noFill/>
        </p:spPr>
        <p:txBody>
          <a:bodyPr vert="horz" lIns="0" tIns="0" rIns="0" bIns="0" rtlCol="0">
            <a:noAutofit/>
          </a:bodyPr>
          <a:lstStyle>
            <a:lvl1pPr>
              <a:defRPr lang="en-US" sz="1200" dirty="0"/>
            </a:lvl1pPr>
            <a:lvl2pPr>
              <a:defRPr lang="en-US" sz="1200" b="0" baseline="0" smtClean="0"/>
            </a:lvl2pPr>
            <a:lvl3pPr>
              <a:defRPr lang="en-US" sz="1200" smtClean="0"/>
            </a:lvl3pPr>
            <a:lvl4pPr>
              <a:defRPr lang="en-US" sz="1200" smtClean="0">
                <a:solidFill>
                  <a:schemeClr val="tx2"/>
                </a:solidFill>
                <a:cs typeface="+mn-cs"/>
              </a:defRPr>
            </a:lvl4pPr>
            <a:lvl5pPr>
              <a:defRPr lang="en-US" sz="1200" smtClean="0"/>
            </a:lvl5pPr>
            <a:lvl6pPr>
              <a:defRPr lang="en-US" sz="1200" smtClean="0"/>
            </a:lvl6pPr>
            <a:lvl7pPr>
              <a:defRPr lang="en-US" sz="1200" smtClean="0"/>
            </a:lvl7pPr>
            <a:lvl8pPr>
              <a:defRPr lang="en-US" sz="1200" smtClean="0"/>
            </a:lvl8pPr>
            <a:lvl9pPr>
              <a:defRPr lang="en-US" sz="1200" smtClean="0"/>
            </a:lvl9pPr>
          </a:lstStyle>
          <a:p>
            <a:pPr lvl="0"/>
            <a:r>
              <a:rPr lang="en-US"/>
              <a:t>First level</a:t>
            </a:r>
          </a:p>
          <a:p>
            <a:pPr lvl="1"/>
            <a:r>
              <a:rPr lang="en-US"/>
              <a:t>Second level</a:t>
            </a:r>
          </a:p>
          <a:p>
            <a:pPr lvl="2"/>
            <a:r>
              <a:rPr lang="en-US"/>
              <a:t>Third level </a:t>
            </a:r>
          </a:p>
          <a:p>
            <a:pPr lvl="3"/>
            <a:r>
              <a:rPr lang="en-US"/>
              <a:t>Fourth level</a:t>
            </a:r>
          </a:p>
          <a:p>
            <a:pPr lvl="4">
              <a:lnSpc>
                <a:spcPts val="1800"/>
              </a:lnSpc>
              <a:spcBef>
                <a:spcPts val="300"/>
              </a:spcBef>
            </a:pPr>
            <a:r>
              <a:rPr lang="en-US"/>
              <a:t>Fifth level</a:t>
            </a:r>
          </a:p>
          <a:p>
            <a:pPr lvl="5"/>
            <a:r>
              <a:rPr lang="en-US"/>
              <a:t>Sixth level</a:t>
            </a:r>
          </a:p>
          <a:p>
            <a:pPr lvl="6"/>
            <a:r>
              <a:rPr lang="en-US"/>
              <a:t>Seventh level</a:t>
            </a:r>
          </a:p>
          <a:p>
            <a:pPr lvl="7"/>
            <a:r>
              <a:rPr lang="en-US"/>
              <a:t>Eighth level</a:t>
            </a:r>
          </a:p>
          <a:p>
            <a:pPr lvl="8">
              <a:spcBef>
                <a:spcPts val="300"/>
              </a:spcBef>
            </a:pPr>
            <a:r>
              <a:rPr lang="en-US"/>
              <a:t>Ninth level</a:t>
            </a:r>
          </a:p>
          <a:p>
            <a:pPr lvl="0"/>
            <a:endParaRPr lang="en-US" dirty="0"/>
          </a:p>
        </p:txBody>
      </p:sp>
      <p:sp>
        <p:nvSpPr>
          <p:cNvPr id="25" name="picture 3">
            <a:extLst>
              <a:ext uri="{FF2B5EF4-FFF2-40B4-BE49-F238E27FC236}">
                <a16:creationId xmlns:a16="http://schemas.microsoft.com/office/drawing/2014/main" id="{CB19C893-3E43-7B55-F09D-404F65ECC95A}"/>
              </a:ext>
            </a:extLst>
          </p:cNvPr>
          <p:cNvSpPr>
            <a:spLocks noGrp="1"/>
          </p:cNvSpPr>
          <p:nvPr>
            <p:ph type="pic" sz="quarter" idx="18"/>
          </p:nvPr>
        </p:nvSpPr>
        <p:spPr>
          <a:xfrm>
            <a:off x="9780002" y="1993437"/>
            <a:ext cx="1872000" cy="1152000"/>
          </a:xfrm>
          <a:prstGeom prst="roundRect">
            <a:avLst>
              <a:gd name="adj" fmla="val 5816"/>
            </a:avLst>
          </a:prstGeom>
          <a:solidFill>
            <a:schemeClr val="bg1"/>
          </a:solidFill>
          <a:effectLst/>
        </p:spPr>
        <p:txBody>
          <a:bodyPr/>
          <a:lstStyle/>
          <a:p>
            <a:r>
              <a:rPr lang="de-DE"/>
              <a:t>Bild durch Klicken auf Symbol hinzufügen</a:t>
            </a:r>
            <a:endParaRPr lang="en-DE" dirty="0"/>
          </a:p>
        </p:txBody>
      </p:sp>
      <p:sp>
        <p:nvSpPr>
          <p:cNvPr id="10" name="content B">
            <a:extLst>
              <a:ext uri="{FF2B5EF4-FFF2-40B4-BE49-F238E27FC236}">
                <a16:creationId xmlns:a16="http://schemas.microsoft.com/office/drawing/2014/main" id="{18389146-967B-7864-AB07-8E11BE69C32E}"/>
              </a:ext>
            </a:extLst>
          </p:cNvPr>
          <p:cNvSpPr>
            <a:spLocks noGrp="1"/>
          </p:cNvSpPr>
          <p:nvPr>
            <p:ph sz="quarter" idx="23" hasCustomPrompt="1"/>
          </p:nvPr>
        </p:nvSpPr>
        <p:spPr>
          <a:xfrm>
            <a:off x="7645138" y="3283974"/>
            <a:ext cx="1872000" cy="2880000"/>
          </a:xfrm>
          <a:prstGeom prst="rect">
            <a:avLst/>
          </a:prstGeom>
          <a:noFill/>
        </p:spPr>
        <p:txBody>
          <a:bodyPr vert="horz" lIns="0" tIns="0" rIns="0" bIns="0" rtlCol="0">
            <a:noAutofit/>
          </a:bodyPr>
          <a:lstStyle>
            <a:lvl1pPr>
              <a:defRPr lang="en-US" sz="1200" dirty="0"/>
            </a:lvl1pPr>
            <a:lvl2pPr>
              <a:defRPr lang="en-US" sz="1200" b="0" baseline="0" smtClean="0"/>
            </a:lvl2pPr>
            <a:lvl3pPr>
              <a:defRPr lang="en-US" sz="1200" smtClean="0"/>
            </a:lvl3pPr>
            <a:lvl4pPr>
              <a:defRPr lang="en-US" sz="1200" smtClean="0">
                <a:solidFill>
                  <a:schemeClr val="tx2"/>
                </a:solidFill>
                <a:cs typeface="+mn-cs"/>
              </a:defRPr>
            </a:lvl4pPr>
            <a:lvl5pPr>
              <a:defRPr lang="en-US" sz="1200" smtClean="0"/>
            </a:lvl5pPr>
            <a:lvl6pPr>
              <a:defRPr lang="en-US" sz="1200" smtClean="0"/>
            </a:lvl6pPr>
            <a:lvl7pPr>
              <a:defRPr lang="en-US" sz="1200" smtClean="0"/>
            </a:lvl7pPr>
            <a:lvl8pPr>
              <a:defRPr lang="en-US" sz="1200" smtClean="0"/>
            </a:lvl8pPr>
            <a:lvl9pPr>
              <a:defRPr lang="en-US" sz="1200" smtClean="0"/>
            </a:lvl9pPr>
          </a:lstStyle>
          <a:p>
            <a:pPr lvl="0"/>
            <a:r>
              <a:rPr lang="en-US"/>
              <a:t>First level</a:t>
            </a:r>
          </a:p>
          <a:p>
            <a:pPr lvl="1"/>
            <a:r>
              <a:rPr lang="en-US"/>
              <a:t>Second level</a:t>
            </a:r>
          </a:p>
          <a:p>
            <a:pPr lvl="2"/>
            <a:r>
              <a:rPr lang="en-US"/>
              <a:t>Third level </a:t>
            </a:r>
          </a:p>
          <a:p>
            <a:pPr lvl="3"/>
            <a:r>
              <a:rPr lang="en-US"/>
              <a:t>Fourth level</a:t>
            </a:r>
          </a:p>
          <a:p>
            <a:pPr lvl="4">
              <a:lnSpc>
                <a:spcPts val="1800"/>
              </a:lnSpc>
              <a:spcBef>
                <a:spcPts val="300"/>
              </a:spcBef>
            </a:pPr>
            <a:r>
              <a:rPr lang="en-US"/>
              <a:t>Fifth level</a:t>
            </a:r>
          </a:p>
          <a:p>
            <a:pPr lvl="5"/>
            <a:r>
              <a:rPr lang="en-US"/>
              <a:t>Sixth level</a:t>
            </a:r>
          </a:p>
          <a:p>
            <a:pPr lvl="6"/>
            <a:r>
              <a:rPr lang="en-US"/>
              <a:t>Seventh level</a:t>
            </a:r>
          </a:p>
          <a:p>
            <a:pPr lvl="7"/>
            <a:r>
              <a:rPr lang="en-US"/>
              <a:t>Eighth level</a:t>
            </a:r>
          </a:p>
          <a:p>
            <a:pPr lvl="8">
              <a:spcBef>
                <a:spcPts val="300"/>
              </a:spcBef>
            </a:pPr>
            <a:r>
              <a:rPr lang="en-US"/>
              <a:t>Ninth level</a:t>
            </a:r>
          </a:p>
          <a:p>
            <a:pPr lvl="0"/>
            <a:endParaRPr lang="en-US" dirty="0"/>
          </a:p>
        </p:txBody>
      </p:sp>
      <p:sp>
        <p:nvSpPr>
          <p:cNvPr id="26" name="picture 2">
            <a:extLst>
              <a:ext uri="{FF2B5EF4-FFF2-40B4-BE49-F238E27FC236}">
                <a16:creationId xmlns:a16="http://schemas.microsoft.com/office/drawing/2014/main" id="{B610BDAE-37E1-B34F-0439-C8A4845B6F82}"/>
              </a:ext>
            </a:extLst>
          </p:cNvPr>
          <p:cNvSpPr>
            <a:spLocks noGrp="1"/>
          </p:cNvSpPr>
          <p:nvPr>
            <p:ph type="pic" sz="quarter" idx="16"/>
          </p:nvPr>
        </p:nvSpPr>
        <p:spPr>
          <a:xfrm>
            <a:off x="7645138" y="1993437"/>
            <a:ext cx="1872000" cy="1152000"/>
          </a:xfrm>
          <a:prstGeom prst="roundRect">
            <a:avLst>
              <a:gd name="adj" fmla="val 6061"/>
            </a:avLst>
          </a:prstGeom>
          <a:solidFill>
            <a:schemeClr val="bg1"/>
          </a:solidFill>
          <a:effectLst/>
        </p:spPr>
        <p:txBody>
          <a:bodyPr/>
          <a:lstStyle/>
          <a:p>
            <a:r>
              <a:rPr lang="de-DE"/>
              <a:t>Bild durch Klicken auf Symbol hinzufügen</a:t>
            </a:r>
            <a:endParaRPr lang="en-DE" dirty="0"/>
          </a:p>
        </p:txBody>
      </p:sp>
      <p:sp>
        <p:nvSpPr>
          <p:cNvPr id="3" name="content A">
            <a:extLst>
              <a:ext uri="{FF2B5EF4-FFF2-40B4-BE49-F238E27FC236}">
                <a16:creationId xmlns:a16="http://schemas.microsoft.com/office/drawing/2014/main" id="{77A29EE5-2B1C-3EC4-6F36-6ECBC9D69F26}"/>
              </a:ext>
            </a:extLst>
          </p:cNvPr>
          <p:cNvSpPr>
            <a:spLocks noGrp="1"/>
          </p:cNvSpPr>
          <p:nvPr>
            <p:ph sz="quarter" idx="22" hasCustomPrompt="1"/>
          </p:nvPr>
        </p:nvSpPr>
        <p:spPr>
          <a:xfrm>
            <a:off x="5521138" y="3283974"/>
            <a:ext cx="1872000" cy="2880000"/>
          </a:xfrm>
          <a:prstGeom prst="rect">
            <a:avLst/>
          </a:prstGeom>
          <a:noFill/>
        </p:spPr>
        <p:txBody>
          <a:bodyPr vert="horz" lIns="0" tIns="0" rIns="0" bIns="0" rtlCol="0">
            <a:noAutofit/>
          </a:bodyPr>
          <a:lstStyle>
            <a:lvl1pPr algn="l" defTabSz="914400" rtl="0" eaLnBrk="1" latinLnBrk="0" hangingPunct="1">
              <a:lnSpc>
                <a:spcPts val="1800"/>
              </a:lnSpc>
              <a:spcBef>
                <a:spcPts val="300"/>
              </a:spcBef>
              <a:tabLst>
                <a:tab pos="182563" algn="l"/>
              </a:tabLst>
              <a:defRPr lang="en-US" sz="1200" b="0" kern="1200" baseline="0" noProof="0">
                <a:solidFill>
                  <a:schemeClr val="tx2"/>
                </a:solidFill>
                <a:latin typeface="+mn-lt"/>
                <a:ea typeface="+mn-ea"/>
                <a:cs typeface="+mn-cs"/>
              </a:defRPr>
            </a:lvl1pPr>
            <a:lvl2pPr algn="l" defTabSz="914400" rtl="0" eaLnBrk="1" latinLnBrk="0" hangingPunct="1">
              <a:lnSpc>
                <a:spcPts val="1800"/>
              </a:lnSpc>
              <a:spcBef>
                <a:spcPts val="300"/>
              </a:spcBef>
              <a:tabLst>
                <a:tab pos="182563" algn="l"/>
              </a:tabLst>
              <a:defRPr lang="en-US" sz="1200" b="0" kern="1200" baseline="0" noProof="0">
                <a:solidFill>
                  <a:schemeClr val="tx2"/>
                </a:solidFill>
                <a:latin typeface="+mn-lt"/>
                <a:ea typeface="+mn-ea"/>
                <a:cs typeface="+mn-cs"/>
              </a:defRPr>
            </a:lvl2pPr>
            <a:lvl3pPr algn="l" defTabSz="914400" rtl="0" eaLnBrk="1" latinLnBrk="0" hangingPunct="1">
              <a:lnSpc>
                <a:spcPts val="1800"/>
              </a:lnSpc>
              <a:spcBef>
                <a:spcPts val="300"/>
              </a:spcBef>
              <a:tabLst>
                <a:tab pos="182563" algn="l"/>
              </a:tabLst>
              <a:defRPr lang="en-US" sz="1200" b="0" kern="1200" baseline="0" noProof="0">
                <a:solidFill>
                  <a:schemeClr val="tx2"/>
                </a:solidFill>
                <a:latin typeface="+mn-lt"/>
                <a:ea typeface="+mn-ea"/>
                <a:cs typeface="+mn-cs"/>
              </a:defRPr>
            </a:lvl3pPr>
            <a:lvl4pPr algn="l" defTabSz="914400" rtl="0" eaLnBrk="1" latinLnBrk="0" hangingPunct="1">
              <a:lnSpc>
                <a:spcPts val="1800"/>
              </a:lnSpc>
              <a:spcBef>
                <a:spcPts val="300"/>
              </a:spcBef>
              <a:tabLst>
                <a:tab pos="182563" algn="l"/>
              </a:tabLst>
              <a:defRPr lang="en-US" sz="1200" b="0" kern="1200" baseline="0" noProof="0">
                <a:solidFill>
                  <a:schemeClr val="tx2"/>
                </a:solidFill>
                <a:latin typeface="+mn-lt"/>
                <a:ea typeface="+mn-ea"/>
                <a:cs typeface="+mn-cs"/>
              </a:defRPr>
            </a:lvl4pPr>
            <a:lvl5pPr algn="l" defTabSz="914400" rtl="0" eaLnBrk="1" latinLnBrk="0" hangingPunct="1">
              <a:lnSpc>
                <a:spcPts val="1800"/>
              </a:lnSpc>
              <a:spcBef>
                <a:spcPts val="300"/>
              </a:spcBef>
              <a:tabLst>
                <a:tab pos="182563" algn="l"/>
              </a:tabLst>
              <a:defRPr lang="en-US" sz="1200" smtClean="0"/>
            </a:lvl5pPr>
            <a:lvl6pPr>
              <a:lnSpc>
                <a:spcPts val="1800"/>
              </a:lnSpc>
              <a:spcBef>
                <a:spcPts val="300"/>
              </a:spcBef>
              <a:defRPr lang="en-US" sz="1200" dirty="0"/>
            </a:lvl6pPr>
            <a:lvl7pPr>
              <a:lnSpc>
                <a:spcPts val="1800"/>
              </a:lnSpc>
              <a:spcBef>
                <a:spcPts val="300"/>
              </a:spcBef>
              <a:defRPr lang="en-US" sz="1200" dirty="0"/>
            </a:lvl7pPr>
            <a:lvl8pPr>
              <a:lnSpc>
                <a:spcPts val="1800"/>
              </a:lnSpc>
              <a:spcBef>
                <a:spcPts val="300"/>
              </a:spcBef>
              <a:defRPr lang="en-US" sz="1200" dirty="0"/>
            </a:lvl8pPr>
            <a:lvl9pPr>
              <a:lnSpc>
                <a:spcPts val="1800"/>
              </a:lnSpc>
              <a:spcBef>
                <a:spcPts val="300"/>
              </a:spcBef>
              <a:defRPr lang="en-US" sz="1200" dirty="0"/>
            </a:lvl9pPr>
          </a:lstStyle>
          <a:p>
            <a:pPr lvl="0"/>
            <a:r>
              <a:rPr lang="en-US"/>
              <a:t>First level</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27" name="picture 1">
            <a:extLst>
              <a:ext uri="{FF2B5EF4-FFF2-40B4-BE49-F238E27FC236}">
                <a16:creationId xmlns:a16="http://schemas.microsoft.com/office/drawing/2014/main" id="{A2181A85-67F3-4040-0C70-CD4B92E7B17E}"/>
              </a:ext>
            </a:extLst>
          </p:cNvPr>
          <p:cNvSpPr>
            <a:spLocks noGrp="1"/>
          </p:cNvSpPr>
          <p:nvPr>
            <p:ph type="pic" sz="quarter" idx="17"/>
          </p:nvPr>
        </p:nvSpPr>
        <p:spPr>
          <a:xfrm>
            <a:off x="5521138" y="1993437"/>
            <a:ext cx="1872000" cy="1152000"/>
          </a:xfrm>
          <a:prstGeom prst="roundRect">
            <a:avLst>
              <a:gd name="adj" fmla="val 6172"/>
            </a:avLst>
          </a:prstGeom>
          <a:solidFill>
            <a:schemeClr val="bg1"/>
          </a:solidFill>
          <a:effectLst/>
        </p:spPr>
        <p:txBody>
          <a:bodyPr/>
          <a:lstStyle/>
          <a:p>
            <a:r>
              <a:rPr lang="de-DE"/>
              <a:t>Bild durch Klicken auf Symbol hinzufügen</a:t>
            </a:r>
            <a:endParaRPr lang="en-DE" dirty="0"/>
          </a:p>
        </p:txBody>
      </p:sp>
      <p:sp>
        <p:nvSpPr>
          <p:cNvPr id="28" name="content 3">
            <a:extLst>
              <a:ext uri="{FF2B5EF4-FFF2-40B4-BE49-F238E27FC236}">
                <a16:creationId xmlns:a16="http://schemas.microsoft.com/office/drawing/2014/main" id="{C1680A4C-F25B-0267-212B-AD9960BC73B1}"/>
              </a:ext>
            </a:extLst>
          </p:cNvPr>
          <p:cNvSpPr>
            <a:spLocks noGrp="1"/>
          </p:cNvSpPr>
          <p:nvPr>
            <p:ph sz="quarter" idx="56" hasCustomPrompt="1"/>
          </p:nvPr>
        </p:nvSpPr>
        <p:spPr>
          <a:xfrm>
            <a:off x="5521138" y="1484313"/>
            <a:ext cx="6120000" cy="504825"/>
          </a:xfrm>
          <a:prstGeom prst="rect">
            <a:avLst/>
          </a:prstGeom>
          <a:noFill/>
        </p:spPr>
        <p:txBody>
          <a:bodyPr vert="horz" lIns="0" tIns="0" rIns="0" bIns="0" rtlCol="0">
            <a:noAutofit/>
          </a:bodyPr>
          <a:lstStyle>
            <a:lvl1pPr>
              <a:defRPr lang="en-US" sz="1200" dirty="0"/>
            </a:lvl1pPr>
            <a:lvl2pPr>
              <a:defRPr lang="en-US" sz="1200" b="0" baseline="0" smtClean="0"/>
            </a:lvl2pPr>
            <a:lvl3pPr>
              <a:defRPr lang="en-US" sz="1200" smtClean="0"/>
            </a:lvl3pPr>
            <a:lvl4pPr>
              <a:defRPr lang="en-US" sz="1200" smtClean="0">
                <a:solidFill>
                  <a:schemeClr val="tx2"/>
                </a:solidFill>
                <a:cs typeface="+mn-cs"/>
              </a:defRPr>
            </a:lvl4pPr>
            <a:lvl5pPr>
              <a:defRPr lang="en-US" sz="1200" smtClean="0"/>
            </a:lvl5pPr>
            <a:lvl6pPr>
              <a:defRPr lang="en-US" sz="1200" smtClean="0"/>
            </a:lvl6pPr>
            <a:lvl7pPr>
              <a:defRPr lang="en-US" sz="1200" smtClean="0"/>
            </a:lvl7pPr>
            <a:lvl8pPr>
              <a:defRPr lang="en-US" sz="1200" smtClean="0"/>
            </a:lvl8pPr>
            <a:lvl9pPr>
              <a:defRPr lang="en-US" sz="1200" smtClean="0"/>
            </a:lvl9pPr>
          </a:lstStyle>
          <a:p>
            <a:pPr lvl="0"/>
            <a:r>
              <a:rPr lang="en-US" dirty="0"/>
              <a:t>First level</a:t>
            </a:r>
          </a:p>
        </p:txBody>
      </p:sp>
      <p:sp>
        <p:nvSpPr>
          <p:cNvPr id="4" name="content 2">
            <a:extLst>
              <a:ext uri="{FF2B5EF4-FFF2-40B4-BE49-F238E27FC236}">
                <a16:creationId xmlns:a16="http://schemas.microsoft.com/office/drawing/2014/main" id="{7A5FAD4D-21B9-A852-4BBD-6443D406EB19}"/>
              </a:ext>
            </a:extLst>
          </p:cNvPr>
          <p:cNvSpPr>
            <a:spLocks noGrp="1"/>
          </p:cNvSpPr>
          <p:nvPr>
            <p:ph sz="quarter" idx="47" hasCustomPrompt="1"/>
          </p:nvPr>
        </p:nvSpPr>
        <p:spPr>
          <a:xfrm>
            <a:off x="2843997" y="1484313"/>
            <a:ext cx="1980000" cy="4680000"/>
          </a:xfrm>
          <a:prstGeom prst="rect">
            <a:avLst/>
          </a:prstGeom>
          <a:noFill/>
        </p:spPr>
        <p:txBody>
          <a:bodyPr vert="horz" lIns="0" tIns="0" rIns="0" bIns="0" rtlCol="0">
            <a:noAutofit/>
          </a:bodyPr>
          <a:lstStyle>
            <a:lvl1pPr>
              <a:defRPr lang="en-US" sz="1200" dirty="0"/>
            </a:lvl1pPr>
            <a:lvl2pPr>
              <a:defRPr lang="en-US" sz="1200" b="0" baseline="0" smtClean="0"/>
            </a:lvl2pPr>
            <a:lvl3pPr>
              <a:defRPr lang="en-US" sz="1200" smtClean="0"/>
            </a:lvl3pPr>
            <a:lvl4pPr>
              <a:defRPr lang="en-US" sz="1200" smtClean="0">
                <a:solidFill>
                  <a:schemeClr val="tx2"/>
                </a:solidFill>
                <a:cs typeface="+mn-cs"/>
              </a:defRPr>
            </a:lvl4pPr>
            <a:lvl5pPr>
              <a:defRPr lang="en-US" sz="1200" smtClean="0"/>
            </a:lvl5pPr>
            <a:lvl6pPr>
              <a:defRPr lang="en-US" sz="1200" smtClean="0"/>
            </a:lvl6pPr>
            <a:lvl7pPr>
              <a:defRPr lang="en-US" sz="1200" smtClean="0"/>
            </a:lvl7pPr>
            <a:lvl8pPr>
              <a:defRPr lang="en-US" sz="1200" smtClean="0"/>
            </a:lvl8pPr>
            <a:lvl9pPr>
              <a:defRPr lang="en-US" sz="1200" smtClean="0"/>
            </a:lvl9pPr>
          </a:lstStyle>
          <a:p>
            <a:pPr lvl="0"/>
            <a:r>
              <a:rPr lang="en-US" dirty="0"/>
              <a:t>First level</a:t>
            </a:r>
          </a:p>
          <a:p>
            <a:pPr lvl="1"/>
            <a:r>
              <a:rPr lang="en-US" dirty="0"/>
              <a:t>Second level</a:t>
            </a:r>
          </a:p>
          <a:p>
            <a:pPr lvl="2"/>
            <a:r>
              <a:rPr lang="en-US" dirty="0"/>
              <a:t>Third level </a:t>
            </a:r>
          </a:p>
          <a:p>
            <a:pPr lvl="3"/>
            <a:r>
              <a:rPr lang="en-US" dirty="0"/>
              <a:t>Fourth level</a:t>
            </a:r>
          </a:p>
          <a:p>
            <a:pPr lvl="4">
              <a:lnSpc>
                <a:spcPts val="1800"/>
              </a:lnSpc>
              <a:spcBef>
                <a:spcPts val="300"/>
              </a:spcBef>
            </a:pPr>
            <a:r>
              <a:rPr lang="en-US" dirty="0"/>
              <a:t>Fifth level</a:t>
            </a:r>
          </a:p>
          <a:p>
            <a:pPr lvl="5"/>
            <a:r>
              <a:rPr lang="en-US" dirty="0"/>
              <a:t>Sixth level</a:t>
            </a:r>
          </a:p>
          <a:p>
            <a:pPr lvl="6"/>
            <a:r>
              <a:rPr lang="en-US" dirty="0"/>
              <a:t>Seventh level</a:t>
            </a:r>
          </a:p>
          <a:p>
            <a:pPr lvl="7"/>
            <a:r>
              <a:rPr lang="en-US" dirty="0"/>
              <a:t>Eighth level</a:t>
            </a:r>
          </a:p>
          <a:p>
            <a:pPr lvl="8">
              <a:spcBef>
                <a:spcPts val="300"/>
              </a:spcBef>
            </a:pPr>
            <a:r>
              <a:rPr lang="en-US" dirty="0"/>
              <a:t>Ninth level</a:t>
            </a:r>
          </a:p>
          <a:p>
            <a:pPr lvl="0"/>
            <a:endParaRPr lang="en-US" dirty="0"/>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hasCustomPrompt="1"/>
          </p:nvPr>
        </p:nvSpPr>
        <p:spPr>
          <a:xfrm>
            <a:off x="539997" y="1484313"/>
            <a:ext cx="1980000" cy="4680000"/>
          </a:xfrm>
          <a:prstGeom prst="rect">
            <a:avLst/>
          </a:prstGeom>
          <a:noFill/>
        </p:spPr>
        <p:txBody>
          <a:bodyPr vert="horz" lIns="0" tIns="0" rIns="0" bIns="0" rtlCol="0">
            <a:noAutofit/>
          </a:bodyPr>
          <a:lstStyle>
            <a:lvl1pPr>
              <a:defRPr lang="en-US" sz="1200" dirty="0"/>
            </a:lvl1pPr>
            <a:lvl2pPr>
              <a:defRPr lang="en-US" sz="1200" b="0" baseline="0" smtClean="0"/>
            </a:lvl2pPr>
            <a:lvl3pPr>
              <a:defRPr lang="en-US" sz="1200" smtClean="0"/>
            </a:lvl3pPr>
            <a:lvl4pPr>
              <a:defRPr lang="en-US" sz="1200" smtClean="0">
                <a:solidFill>
                  <a:schemeClr val="tx2"/>
                </a:solidFill>
                <a:cs typeface="+mn-cs"/>
              </a:defRPr>
            </a:lvl4pPr>
            <a:lvl5pPr>
              <a:defRPr lang="en-US" sz="1200" smtClean="0"/>
            </a:lvl5pPr>
            <a:lvl6pPr>
              <a:defRPr lang="en-US" sz="1200" smtClean="0"/>
            </a:lvl6pPr>
            <a:lvl7pPr>
              <a:defRPr lang="en-US" sz="1200" smtClean="0"/>
            </a:lvl7pPr>
            <a:lvl8pPr>
              <a:defRPr lang="en-US" sz="1200" smtClean="0"/>
            </a:lvl8pPr>
            <a:lvl9pPr>
              <a:defRPr lang="en-US" sz="1200" smtClean="0"/>
            </a:lvl9pPr>
          </a:lstStyle>
          <a:p>
            <a:pPr lvl="0"/>
            <a:r>
              <a:rPr lang="en-US" dirty="0"/>
              <a:t>First level</a:t>
            </a:r>
          </a:p>
          <a:p>
            <a:pPr lvl="1"/>
            <a:r>
              <a:rPr lang="en-US" dirty="0"/>
              <a:t>Second level</a:t>
            </a:r>
          </a:p>
          <a:p>
            <a:pPr lvl="2"/>
            <a:r>
              <a:rPr lang="en-US" dirty="0"/>
              <a:t>Third level </a:t>
            </a:r>
          </a:p>
          <a:p>
            <a:pPr lvl="3"/>
            <a:r>
              <a:rPr lang="en-US" dirty="0"/>
              <a:t>Fourth level</a:t>
            </a:r>
          </a:p>
          <a:p>
            <a:pPr lvl="4">
              <a:lnSpc>
                <a:spcPts val="1800"/>
              </a:lnSpc>
              <a:spcBef>
                <a:spcPts val="300"/>
              </a:spcBef>
            </a:pPr>
            <a:r>
              <a:rPr lang="en-US" dirty="0"/>
              <a:t>Fifth level</a:t>
            </a:r>
          </a:p>
          <a:p>
            <a:pPr lvl="5"/>
            <a:r>
              <a:rPr lang="en-US" dirty="0"/>
              <a:t>Sixth level</a:t>
            </a:r>
          </a:p>
          <a:p>
            <a:pPr lvl="6"/>
            <a:r>
              <a:rPr lang="en-US" dirty="0"/>
              <a:t>Seventh level</a:t>
            </a:r>
          </a:p>
          <a:p>
            <a:pPr lvl="7"/>
            <a:r>
              <a:rPr lang="en-US" dirty="0"/>
              <a:t>Eighth level</a:t>
            </a:r>
          </a:p>
          <a:p>
            <a:pPr lvl="8">
              <a:spcBef>
                <a:spcPts val="300"/>
              </a:spcBef>
            </a:pPr>
            <a:r>
              <a:rPr lang="en-US" dirty="0"/>
              <a:t>Ninth level</a:t>
            </a:r>
          </a:p>
          <a:p>
            <a:pPr lvl="0"/>
            <a:endParaRPr lang="en-US" dirty="0"/>
          </a:p>
        </p:txBody>
      </p:sp>
      <p:sp>
        <p:nvSpPr>
          <p:cNvPr id="36" name="title">
            <a:extLst>
              <a:ext uri="{FF2B5EF4-FFF2-40B4-BE49-F238E27FC236}">
                <a16:creationId xmlns:a16="http://schemas.microsoft.com/office/drawing/2014/main" id="{C42A5394-0582-37AA-737C-9A22F650EDD4}"/>
              </a:ext>
            </a:extLst>
          </p:cNvPr>
          <p:cNvSpPr>
            <a:spLocks noGrp="1"/>
          </p:cNvSpPr>
          <p:nvPr>
            <p:ph type="title"/>
          </p:nvPr>
        </p:nvSpPr>
        <p:spPr>
          <a:xfrm>
            <a:off x="540000" y="622301"/>
            <a:ext cx="11088000" cy="828000"/>
          </a:xfrm>
        </p:spPr>
        <p:txBody>
          <a:bodyPr vert="horz" anchor="t"/>
          <a:lstStyle/>
          <a:p>
            <a:r>
              <a:rPr lang="de-DE"/>
              <a:t>Mastertitelformat bearbeiten</a:t>
            </a:r>
            <a:endParaRPr lang="en-US" dirty="0"/>
          </a:p>
        </p:txBody>
      </p:sp>
      <p:sp>
        <p:nvSpPr>
          <p:cNvPr id="5" name="navigation">
            <a:extLst>
              <a:ext uri="{FF2B5EF4-FFF2-40B4-BE49-F238E27FC236}">
                <a16:creationId xmlns:a16="http://schemas.microsoft.com/office/drawing/2014/main" id="{E2DB2781-02B7-8F48-880C-0864DAF6A9C6}"/>
              </a:ext>
            </a:extLst>
          </p:cNvPr>
          <p:cNvSpPr>
            <a:spLocks noGrp="1"/>
          </p:cNvSpPr>
          <p:nvPr>
            <p:ph type="body" sz="quarter" idx="14"/>
          </p:nvPr>
        </p:nvSpPr>
        <p:spPr>
          <a:xfrm>
            <a:off x="576000" y="396000"/>
            <a:ext cx="11052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6686846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  024a : pc : content : picture">
    <p:spTree>
      <p:nvGrpSpPr>
        <p:cNvPr id="1" name=""/>
        <p:cNvGrpSpPr/>
        <p:nvPr/>
      </p:nvGrpSpPr>
      <p:grpSpPr>
        <a:xfrm>
          <a:off x="0" y="0"/>
          <a:ext cx="0" cy="0"/>
          <a:chOff x="0" y="0"/>
          <a:chExt cx="0" cy="0"/>
        </a:xfrm>
      </p:grpSpPr>
      <p:sp>
        <p:nvSpPr>
          <p:cNvPr id="3" name="monitor">
            <a:extLst>
              <a:ext uri="{FF2B5EF4-FFF2-40B4-BE49-F238E27FC236}">
                <a16:creationId xmlns:a16="http://schemas.microsoft.com/office/drawing/2014/main" id="{52D77C3B-A6D0-1D9E-FA96-551FAA9D6427}"/>
              </a:ext>
            </a:extLst>
          </p:cNvPr>
          <p:cNvSpPr txBox="1">
            <a:spLocks/>
          </p:cNvSpPr>
          <p:nvPr/>
        </p:nvSpPr>
        <p:spPr>
          <a:xfrm>
            <a:off x="540000" y="1484312"/>
            <a:ext cx="5419342" cy="4917145"/>
          </a:xfrm>
          <a:prstGeom prst="rect">
            <a:avLst/>
          </a:prstGeom>
          <a:blipFill>
            <a:blip r:embed="rId2"/>
            <a:srcRect/>
            <a:stretch>
              <a:fillRect l="410" t="-1" r="410" b="4153"/>
            </a:stretch>
          </a:blipFill>
          <a:effectLst/>
        </p:spPr>
        <p:txBody>
          <a:bodyPr vert="horz" lIns="0" tIns="0" rIns="0" bIns="0" rtlCol="0">
            <a:noAutofit/>
          </a:bodyPr>
          <a:lstStyle>
            <a:lvl1pPr marL="0" indent="0" algn="l" defTabSz="914400" rtl="0" eaLnBrk="1" latinLnBrk="0" hangingPunct="1">
              <a:lnSpc>
                <a:spcPct val="100000"/>
              </a:lnSpc>
              <a:spcBef>
                <a:spcPts val="600"/>
              </a:spcBef>
              <a:spcAft>
                <a:spcPts val="600"/>
              </a:spcAft>
              <a:buClr>
                <a:schemeClr val="accent2"/>
              </a:buClr>
              <a:buSzPct val="100000"/>
              <a:buFont typeface="Verdana" panose="020B0604030504040204" pitchFamily="34" charset="0"/>
              <a:buNone/>
              <a:defRPr sz="100" kern="1200">
                <a:solidFill>
                  <a:schemeClr val="bg1"/>
                </a:solidFill>
                <a:latin typeface="+mn-lt"/>
                <a:ea typeface="+mn-ea"/>
                <a:cs typeface="+mn-cs"/>
              </a:defRPr>
            </a:lvl1pPr>
            <a:lvl2pPr marL="541338" indent="-276225" algn="l" defTabSz="914400" rtl="0" eaLnBrk="1" latinLnBrk="0" hangingPunct="1">
              <a:lnSpc>
                <a:spcPct val="100000"/>
              </a:lnSpc>
              <a:spcBef>
                <a:spcPts val="600"/>
              </a:spcBef>
              <a:spcAft>
                <a:spcPts val="600"/>
              </a:spcAft>
              <a:buClr>
                <a:schemeClr val="accent3"/>
              </a:buClr>
              <a:buFont typeface="Courier New" panose="02070309020205020404" pitchFamily="49" charset="0"/>
              <a:buChar char="o"/>
              <a:tabLst/>
              <a:defRPr sz="1600" kern="1200">
                <a:solidFill>
                  <a:schemeClr val="tx2"/>
                </a:solidFill>
                <a:latin typeface="+mn-lt"/>
                <a:ea typeface="+mn-ea"/>
                <a:cs typeface="+mn-cs"/>
              </a:defRPr>
            </a:lvl2pPr>
            <a:lvl3pPr marL="806450" indent="-265113" algn="l" defTabSz="914400" rtl="0" eaLnBrk="1" latinLnBrk="0" hangingPunct="1">
              <a:lnSpc>
                <a:spcPct val="100000"/>
              </a:lnSpc>
              <a:spcBef>
                <a:spcPts val="600"/>
              </a:spcBef>
              <a:spcAft>
                <a:spcPts val="600"/>
              </a:spcAft>
              <a:buClr>
                <a:schemeClr val="accent4"/>
              </a:buClr>
              <a:buFont typeface="Verdana" panose="020B0604030504040204" pitchFamily="34" charset="0"/>
              <a:buChar char="–"/>
              <a:defRPr sz="1400" kern="1200">
                <a:solidFill>
                  <a:schemeClr val="tx2"/>
                </a:solidFill>
                <a:latin typeface="+mn-lt"/>
                <a:ea typeface="+mn-ea"/>
                <a:cs typeface="+mn-cs"/>
              </a:defRPr>
            </a:lvl3pPr>
            <a:lvl4pPr marL="0" indent="0" algn="l" defTabSz="914400" rtl="0" eaLnBrk="1" latinLnBrk="0" hangingPunct="1">
              <a:lnSpc>
                <a:spcPct val="100000"/>
              </a:lnSpc>
              <a:spcBef>
                <a:spcPts val="600"/>
              </a:spcBef>
              <a:spcAft>
                <a:spcPts val="600"/>
              </a:spcAft>
              <a:buFont typeface="Arial" panose="020B0604020202020204" pitchFamily="34" charset="0"/>
              <a:buNone/>
              <a:defRPr sz="1600" kern="1200">
                <a:solidFill>
                  <a:schemeClr val="tx2"/>
                </a:solidFill>
                <a:latin typeface="+mn-lt"/>
                <a:ea typeface="+mn-ea"/>
                <a:cs typeface="+mn-cs"/>
              </a:defRPr>
            </a:lvl4pPr>
            <a:lvl5pPr marL="0" indent="0" algn="l" defTabSz="914400" rtl="0" eaLnBrk="1" latinLnBrk="0" hangingPunct="1">
              <a:lnSpc>
                <a:spcPct val="100000"/>
              </a:lnSpc>
              <a:spcBef>
                <a:spcPts val="600"/>
              </a:spcBef>
              <a:spcAft>
                <a:spcPts val="600"/>
              </a:spcAft>
              <a:buFont typeface="Arial" panose="020B0604020202020204" pitchFamily="34" charset="0"/>
              <a:buNone/>
              <a:defRPr sz="2000" b="1" kern="1200">
                <a:solidFill>
                  <a:schemeClr val="tx2"/>
                </a:solidFill>
                <a:latin typeface="+mj-lt"/>
                <a:ea typeface="+mn-ea"/>
                <a:cs typeface="+mn-cs"/>
              </a:defRPr>
            </a:lvl5pPr>
            <a:lvl6pPr marL="0" indent="0" algn="l" defTabSz="914400" rtl="0" eaLnBrk="1" latinLnBrk="0" hangingPunct="1">
              <a:lnSpc>
                <a:spcPct val="100000"/>
              </a:lnSpc>
              <a:spcBef>
                <a:spcPts val="600"/>
              </a:spcBef>
              <a:spcAft>
                <a:spcPts val="600"/>
              </a:spcAft>
              <a:buClr>
                <a:schemeClr val="accent1"/>
              </a:buClr>
              <a:buFont typeface="Arial" panose="020B0604020202020204" pitchFamily="34" charset="0"/>
              <a:buNone/>
              <a:defRPr sz="1600" b="0" kern="1200" cap="all" baseline="0">
                <a:solidFill>
                  <a:schemeClr val="tx2"/>
                </a:solidFill>
                <a:latin typeface="+mj-lt"/>
                <a:ea typeface="+mn-ea"/>
                <a:cs typeface="+mn-cs"/>
              </a:defRPr>
            </a:lvl6pPr>
            <a:lvl7pPr marL="342900" indent="-342900" algn="l" defTabSz="914400" rtl="0" eaLnBrk="1" latinLnBrk="0" hangingPunct="1">
              <a:lnSpc>
                <a:spcPct val="100000"/>
              </a:lnSpc>
              <a:spcBef>
                <a:spcPts val="600"/>
              </a:spcBef>
              <a:spcAft>
                <a:spcPts val="600"/>
              </a:spcAft>
              <a:buClr>
                <a:schemeClr val="accent2"/>
              </a:buClr>
              <a:buFont typeface="+mj-lt"/>
              <a:buAutoNum type="arabicPeriod"/>
              <a:tabLst/>
              <a:defRPr sz="1600" kern="1200">
                <a:solidFill>
                  <a:schemeClr val="tx2"/>
                </a:solidFill>
                <a:latin typeface="+mn-lt"/>
                <a:ea typeface="+mn-ea"/>
                <a:cs typeface="+mn-cs"/>
              </a:defRPr>
            </a:lvl7pPr>
            <a:lvl8pPr marL="342900" indent="-342900" algn="l" defTabSz="914400" rtl="0" eaLnBrk="1" latinLnBrk="0" hangingPunct="1">
              <a:lnSpc>
                <a:spcPct val="100000"/>
              </a:lnSpc>
              <a:spcBef>
                <a:spcPts val="600"/>
              </a:spcBef>
              <a:spcAft>
                <a:spcPts val="600"/>
              </a:spcAft>
              <a:buClr>
                <a:schemeClr val="accent2"/>
              </a:buClr>
              <a:buFont typeface="+mj-lt"/>
              <a:buAutoNum type="alphaLcPeriod"/>
              <a:defRPr sz="1600" kern="1200">
                <a:solidFill>
                  <a:schemeClr val="tx2"/>
                </a:solidFill>
                <a:latin typeface="+mn-lt"/>
                <a:ea typeface="+mn-ea"/>
                <a:cs typeface="+mn-cs"/>
              </a:defRPr>
            </a:lvl8pPr>
            <a:lvl9pPr marL="541338" indent="-180975" algn="l" defTabSz="914400" rtl="0" eaLnBrk="1" latinLnBrk="0" hangingPunct="1">
              <a:lnSpc>
                <a:spcPct val="100000"/>
              </a:lnSpc>
              <a:spcBef>
                <a:spcPts val="600"/>
              </a:spcBef>
              <a:spcAft>
                <a:spcPts val="600"/>
              </a:spcAft>
              <a:buClr>
                <a:schemeClr val="accent4"/>
              </a:buClr>
              <a:buFont typeface="Arial" panose="020B0604020202020204" pitchFamily="34" charset="0"/>
              <a:buChar char="•"/>
              <a:defRPr sz="1600" i="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600"/>
              </a:spcAft>
              <a:buClr>
                <a:srgbClr val="FF4B4B"/>
              </a:buClr>
              <a:buSzPct val="100000"/>
              <a:buFont typeface="Verdana" panose="020B0604030504040204" pitchFamily="34" charset="0"/>
              <a:buNone/>
              <a:tabLst/>
              <a:defRPr/>
            </a:pPr>
            <a:r>
              <a:rPr kumimoji="0" lang="en-US" sz="100" b="0" i="0" u="none" strike="noStrike" kern="1200" cap="none" spc="0" normalizeH="0" baseline="0" noProof="0" dirty="0">
                <a:ln>
                  <a:noFill/>
                </a:ln>
                <a:solidFill>
                  <a:sysClr val="window" lastClr="FFFFFF"/>
                </a:solidFill>
                <a:effectLst/>
                <a:uLnTx/>
                <a:uFillTx/>
                <a:latin typeface="Open Sans"/>
                <a:ea typeface="+mn-ea"/>
                <a:cs typeface="+mn-cs"/>
              </a:rPr>
              <a:t> </a:t>
            </a:r>
            <a:endParaRPr kumimoji="0" lang="nl-NL" sz="100" b="0" i="0" u="none" strike="noStrike" kern="1200" cap="none" spc="0" normalizeH="0" baseline="0" noProof="0" dirty="0">
              <a:ln>
                <a:noFill/>
              </a:ln>
              <a:solidFill>
                <a:sysClr val="window" lastClr="FFFFFF"/>
              </a:solidFill>
              <a:effectLst/>
              <a:uLnTx/>
              <a:uFillTx/>
              <a:latin typeface="Open Sans"/>
              <a:ea typeface="+mn-ea"/>
              <a:cs typeface="+mn-cs"/>
            </a:endParaRPr>
          </a:p>
        </p:txBody>
      </p:sp>
      <p:sp>
        <p:nvSpPr>
          <p:cNvPr id="10" name="slide number">
            <a:extLst>
              <a:ext uri="{FF2B5EF4-FFF2-40B4-BE49-F238E27FC236}">
                <a16:creationId xmlns:a16="http://schemas.microsoft.com/office/drawing/2014/main" id="{43A8C717-4722-397F-A0C8-433FF5FE640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2FBD8772-FE66-8FDF-84A4-30F5BE97517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E99FB28A-22AA-994E-7043-22AAEC7A3A3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8" name="content">
            <a:extLst>
              <a:ext uri="{FF2B5EF4-FFF2-40B4-BE49-F238E27FC236}">
                <a16:creationId xmlns:a16="http://schemas.microsoft.com/office/drawing/2014/main" id="{DD0A18D2-5F71-F86D-980D-AF35B8104C72}"/>
              </a:ext>
            </a:extLst>
          </p:cNvPr>
          <p:cNvSpPr>
            <a:spLocks noGrp="1"/>
          </p:cNvSpPr>
          <p:nvPr>
            <p:ph sz="quarter" idx="18" hasCustomPrompt="1"/>
          </p:nvPr>
        </p:nvSpPr>
        <p:spPr>
          <a:xfrm>
            <a:off x="6456363" y="1484313"/>
            <a:ext cx="5184000" cy="468153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First level</a:t>
            </a:r>
          </a:p>
          <a:p>
            <a:pPr lvl="1"/>
            <a:r>
              <a:rPr lang="en-US" dirty="0"/>
              <a:t>Second level</a:t>
            </a:r>
          </a:p>
          <a:p>
            <a:pPr lvl="2"/>
            <a:r>
              <a:rPr lang="en-US" dirty="0"/>
              <a:t>Third level </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1" name="picture front">
            <a:extLst>
              <a:ext uri="{FF2B5EF4-FFF2-40B4-BE49-F238E27FC236}">
                <a16:creationId xmlns:a16="http://schemas.microsoft.com/office/drawing/2014/main" id="{2E74DA68-A790-58DF-BCB9-34E3B7F38EB0}"/>
              </a:ext>
            </a:extLst>
          </p:cNvPr>
          <p:cNvSpPr>
            <a:spLocks noGrp="1"/>
          </p:cNvSpPr>
          <p:nvPr>
            <p:ph type="pic" sz="quarter" idx="17"/>
          </p:nvPr>
        </p:nvSpPr>
        <p:spPr>
          <a:xfrm>
            <a:off x="720080" y="1656273"/>
            <a:ext cx="5040000" cy="2999116"/>
          </a:xfrm>
          <a:prstGeom prst="roundRect">
            <a:avLst>
              <a:gd name="adj" fmla="val 2688"/>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dirty="0"/>
          </a:p>
        </p:txBody>
      </p:sp>
      <p:sp>
        <p:nvSpPr>
          <p:cNvPr id="4" name="title">
            <a:extLst>
              <a:ext uri="{FF2B5EF4-FFF2-40B4-BE49-F238E27FC236}">
                <a16:creationId xmlns:a16="http://schemas.microsoft.com/office/drawing/2014/main" id="{7FE1E167-5B62-BEF8-DF11-0EE0B2E2F6BA}"/>
              </a:ext>
            </a:extLst>
          </p:cNvPr>
          <p:cNvSpPr>
            <a:spLocks noGrp="1"/>
          </p:cNvSpPr>
          <p:nvPr>
            <p:ph type="title"/>
          </p:nvPr>
        </p:nvSpPr>
        <p:spPr>
          <a:xfrm>
            <a:off x="540000" y="622301"/>
            <a:ext cx="11088000" cy="648000"/>
          </a:xfrm>
        </p:spPr>
        <p:txBody>
          <a:bodyPr vert="horz"/>
          <a:lstStyle/>
          <a:p>
            <a:r>
              <a:rPr lang="de-DE"/>
              <a:t>Mastertitelformat bearbeiten</a:t>
            </a:r>
            <a:endParaRPr lang="en-US"/>
          </a:p>
        </p:txBody>
      </p:sp>
      <p:sp>
        <p:nvSpPr>
          <p:cNvPr id="2" name="navigation">
            <a:extLst>
              <a:ext uri="{FF2B5EF4-FFF2-40B4-BE49-F238E27FC236}">
                <a16:creationId xmlns:a16="http://schemas.microsoft.com/office/drawing/2014/main" id="{AD6AF56D-58A3-40A6-7508-E3363684801A}"/>
              </a:ext>
            </a:extLst>
          </p:cNvPr>
          <p:cNvSpPr>
            <a:spLocks noGrp="1"/>
          </p:cNvSpPr>
          <p:nvPr>
            <p:ph type="body" sz="quarter" idx="14"/>
          </p:nvPr>
        </p:nvSpPr>
        <p:spPr>
          <a:xfrm>
            <a:off x="576000" y="396000"/>
            <a:ext cx="11052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95113370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  024b : mobile : 2 contents">
    <p:spTree>
      <p:nvGrpSpPr>
        <p:cNvPr id="1" name=""/>
        <p:cNvGrpSpPr/>
        <p:nvPr/>
      </p:nvGrpSpPr>
      <p:grpSpPr>
        <a:xfrm>
          <a:off x="0" y="0"/>
          <a:ext cx="0" cy="0"/>
          <a:chOff x="0" y="0"/>
          <a:chExt cx="0" cy="0"/>
        </a:xfrm>
      </p:grpSpPr>
      <p:sp>
        <p:nvSpPr>
          <p:cNvPr id="14" name="mobile with hand">
            <a:extLst>
              <a:ext uri="{FF2B5EF4-FFF2-40B4-BE49-F238E27FC236}">
                <a16:creationId xmlns:a16="http://schemas.microsoft.com/office/drawing/2014/main" id="{59821215-9BE7-DA38-5A7B-6A43DF0C476B}"/>
              </a:ext>
            </a:extLst>
          </p:cNvPr>
          <p:cNvSpPr txBox="1">
            <a:spLocks/>
          </p:cNvSpPr>
          <p:nvPr/>
        </p:nvSpPr>
        <p:spPr>
          <a:xfrm>
            <a:off x="7870050" y="1495552"/>
            <a:ext cx="4278407" cy="5362448"/>
          </a:xfrm>
          <a:prstGeom prst="rect">
            <a:avLst/>
          </a:prstGeom>
          <a:blipFill>
            <a:blip r:embed="rId2" cstate="hqprint">
              <a:extLst>
                <a:ext uri="{28A0092B-C50C-407E-A947-70E740481C1C}">
                  <a14:useLocalDpi xmlns:a14="http://schemas.microsoft.com/office/drawing/2010/main"/>
                </a:ext>
              </a:extLst>
            </a:blip>
            <a:srcRect/>
            <a:stretch>
              <a:fillRect t="92" r="-24040"/>
            </a:stretch>
          </a:blipFill>
          <a:effectLst/>
        </p:spPr>
        <p:txBody>
          <a:bodyPr vert="horz" lIns="0" tIns="0" rIns="0" bIns="0" rtlCol="0">
            <a:noAutofit/>
          </a:bodyPr>
          <a:lstStyle>
            <a:lvl1pPr marL="0" indent="0" algn="l" defTabSz="914400" rtl="0" eaLnBrk="1" latinLnBrk="0" hangingPunct="1">
              <a:lnSpc>
                <a:spcPct val="100000"/>
              </a:lnSpc>
              <a:spcBef>
                <a:spcPts val="600"/>
              </a:spcBef>
              <a:spcAft>
                <a:spcPts val="600"/>
              </a:spcAft>
              <a:buClr>
                <a:schemeClr val="accent2"/>
              </a:buClr>
              <a:buSzPct val="100000"/>
              <a:buFont typeface="Verdana" panose="020B0604030504040204" pitchFamily="34" charset="0"/>
              <a:buNone/>
              <a:defRPr sz="100" kern="1200">
                <a:solidFill>
                  <a:schemeClr val="bg1"/>
                </a:solidFill>
                <a:latin typeface="+mn-lt"/>
                <a:ea typeface="+mn-ea"/>
                <a:cs typeface="+mn-cs"/>
              </a:defRPr>
            </a:lvl1pPr>
            <a:lvl2pPr marL="541338" indent="-276225" algn="l" defTabSz="914400" rtl="0" eaLnBrk="1" latinLnBrk="0" hangingPunct="1">
              <a:lnSpc>
                <a:spcPct val="100000"/>
              </a:lnSpc>
              <a:spcBef>
                <a:spcPts val="600"/>
              </a:spcBef>
              <a:spcAft>
                <a:spcPts val="600"/>
              </a:spcAft>
              <a:buClr>
                <a:schemeClr val="accent3"/>
              </a:buClr>
              <a:buFont typeface="Courier New" panose="02070309020205020404" pitchFamily="49" charset="0"/>
              <a:buChar char="o"/>
              <a:tabLst/>
              <a:defRPr sz="1600" kern="1200">
                <a:solidFill>
                  <a:schemeClr val="tx2"/>
                </a:solidFill>
                <a:latin typeface="+mn-lt"/>
                <a:ea typeface="+mn-ea"/>
                <a:cs typeface="+mn-cs"/>
              </a:defRPr>
            </a:lvl2pPr>
            <a:lvl3pPr marL="806450" indent="-265113" algn="l" defTabSz="914400" rtl="0" eaLnBrk="1" latinLnBrk="0" hangingPunct="1">
              <a:lnSpc>
                <a:spcPct val="100000"/>
              </a:lnSpc>
              <a:spcBef>
                <a:spcPts val="600"/>
              </a:spcBef>
              <a:spcAft>
                <a:spcPts val="600"/>
              </a:spcAft>
              <a:buClr>
                <a:schemeClr val="accent4"/>
              </a:buClr>
              <a:buFont typeface="Verdana" panose="020B0604030504040204" pitchFamily="34" charset="0"/>
              <a:buChar char="–"/>
              <a:defRPr sz="1400" kern="1200">
                <a:solidFill>
                  <a:schemeClr val="tx2"/>
                </a:solidFill>
                <a:latin typeface="+mn-lt"/>
                <a:ea typeface="+mn-ea"/>
                <a:cs typeface="+mn-cs"/>
              </a:defRPr>
            </a:lvl3pPr>
            <a:lvl4pPr marL="0" indent="0" algn="l" defTabSz="914400" rtl="0" eaLnBrk="1" latinLnBrk="0" hangingPunct="1">
              <a:lnSpc>
                <a:spcPct val="100000"/>
              </a:lnSpc>
              <a:spcBef>
                <a:spcPts val="600"/>
              </a:spcBef>
              <a:spcAft>
                <a:spcPts val="600"/>
              </a:spcAft>
              <a:buFont typeface="Arial" panose="020B0604020202020204" pitchFamily="34" charset="0"/>
              <a:buNone/>
              <a:defRPr sz="1600" kern="1200">
                <a:solidFill>
                  <a:schemeClr val="tx2"/>
                </a:solidFill>
                <a:latin typeface="+mn-lt"/>
                <a:ea typeface="+mn-ea"/>
                <a:cs typeface="+mn-cs"/>
              </a:defRPr>
            </a:lvl4pPr>
            <a:lvl5pPr marL="0" indent="0" algn="l" defTabSz="914400" rtl="0" eaLnBrk="1" latinLnBrk="0" hangingPunct="1">
              <a:lnSpc>
                <a:spcPct val="100000"/>
              </a:lnSpc>
              <a:spcBef>
                <a:spcPts val="600"/>
              </a:spcBef>
              <a:spcAft>
                <a:spcPts val="600"/>
              </a:spcAft>
              <a:buFont typeface="Arial" panose="020B0604020202020204" pitchFamily="34" charset="0"/>
              <a:buNone/>
              <a:defRPr sz="2000" b="1" kern="1200">
                <a:solidFill>
                  <a:schemeClr val="tx2"/>
                </a:solidFill>
                <a:latin typeface="+mj-lt"/>
                <a:ea typeface="+mn-ea"/>
                <a:cs typeface="+mn-cs"/>
              </a:defRPr>
            </a:lvl5pPr>
            <a:lvl6pPr marL="0" indent="0" algn="l" defTabSz="914400" rtl="0" eaLnBrk="1" latinLnBrk="0" hangingPunct="1">
              <a:lnSpc>
                <a:spcPct val="100000"/>
              </a:lnSpc>
              <a:spcBef>
                <a:spcPts val="600"/>
              </a:spcBef>
              <a:spcAft>
                <a:spcPts val="600"/>
              </a:spcAft>
              <a:buClr>
                <a:schemeClr val="accent1"/>
              </a:buClr>
              <a:buFont typeface="Arial" panose="020B0604020202020204" pitchFamily="34" charset="0"/>
              <a:buNone/>
              <a:defRPr sz="1600" b="0" kern="1200" cap="all" baseline="0">
                <a:solidFill>
                  <a:schemeClr val="tx2"/>
                </a:solidFill>
                <a:latin typeface="+mj-lt"/>
                <a:ea typeface="+mn-ea"/>
                <a:cs typeface="+mn-cs"/>
              </a:defRPr>
            </a:lvl6pPr>
            <a:lvl7pPr marL="342900" indent="-342900" algn="l" defTabSz="914400" rtl="0" eaLnBrk="1" latinLnBrk="0" hangingPunct="1">
              <a:lnSpc>
                <a:spcPct val="100000"/>
              </a:lnSpc>
              <a:spcBef>
                <a:spcPts val="600"/>
              </a:spcBef>
              <a:spcAft>
                <a:spcPts val="600"/>
              </a:spcAft>
              <a:buClr>
                <a:schemeClr val="accent2"/>
              </a:buClr>
              <a:buFont typeface="+mj-lt"/>
              <a:buAutoNum type="arabicPeriod"/>
              <a:tabLst/>
              <a:defRPr sz="1600" kern="1200">
                <a:solidFill>
                  <a:schemeClr val="tx2"/>
                </a:solidFill>
                <a:latin typeface="+mn-lt"/>
                <a:ea typeface="+mn-ea"/>
                <a:cs typeface="+mn-cs"/>
              </a:defRPr>
            </a:lvl7pPr>
            <a:lvl8pPr marL="342900" indent="-342900" algn="l" defTabSz="914400" rtl="0" eaLnBrk="1" latinLnBrk="0" hangingPunct="1">
              <a:lnSpc>
                <a:spcPct val="100000"/>
              </a:lnSpc>
              <a:spcBef>
                <a:spcPts val="600"/>
              </a:spcBef>
              <a:spcAft>
                <a:spcPts val="600"/>
              </a:spcAft>
              <a:buClr>
                <a:schemeClr val="accent2"/>
              </a:buClr>
              <a:buFont typeface="+mj-lt"/>
              <a:buAutoNum type="alphaLcPeriod"/>
              <a:defRPr sz="1600" kern="1200">
                <a:solidFill>
                  <a:schemeClr val="tx2"/>
                </a:solidFill>
                <a:latin typeface="+mn-lt"/>
                <a:ea typeface="+mn-ea"/>
                <a:cs typeface="+mn-cs"/>
              </a:defRPr>
            </a:lvl8pPr>
            <a:lvl9pPr marL="541338" indent="-180975" algn="l" defTabSz="914400" rtl="0" eaLnBrk="1" latinLnBrk="0" hangingPunct="1">
              <a:lnSpc>
                <a:spcPct val="100000"/>
              </a:lnSpc>
              <a:spcBef>
                <a:spcPts val="600"/>
              </a:spcBef>
              <a:spcAft>
                <a:spcPts val="600"/>
              </a:spcAft>
              <a:buClr>
                <a:schemeClr val="accent4"/>
              </a:buClr>
              <a:buFont typeface="Arial" panose="020B0604020202020204" pitchFamily="34" charset="0"/>
              <a:buChar char="•"/>
              <a:defRPr sz="1600" i="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600"/>
              </a:spcAft>
              <a:buClr>
                <a:srgbClr val="FF4B4B"/>
              </a:buClr>
              <a:buSzPct val="100000"/>
              <a:buFont typeface="Verdana" panose="020B0604030504040204" pitchFamily="34" charset="0"/>
              <a:buNone/>
              <a:tabLst/>
              <a:defRPr/>
            </a:pPr>
            <a:r>
              <a:rPr kumimoji="0" lang="nl-NL" sz="100" b="0" i="0" u="none" strike="noStrike" kern="1200" cap="none" spc="0" normalizeH="0" baseline="0" noProof="0">
                <a:ln>
                  <a:noFill/>
                </a:ln>
                <a:solidFill>
                  <a:sysClr val="window" lastClr="FFFFFF"/>
                </a:solidFill>
                <a:effectLst/>
                <a:uLnTx/>
                <a:uFillTx/>
                <a:latin typeface="Open Sans"/>
                <a:ea typeface="+mn-ea"/>
                <a:cs typeface="+mn-cs"/>
              </a:rPr>
              <a:t> </a:t>
            </a:r>
            <a:endParaRPr kumimoji="0" lang="nl-NL" sz="100" b="0" i="0" u="none" strike="noStrike" kern="1200" cap="none" spc="0" normalizeH="0" baseline="0" noProof="0" dirty="0">
              <a:ln>
                <a:noFill/>
              </a:ln>
              <a:solidFill>
                <a:sysClr val="window" lastClr="FFFFFF"/>
              </a:solidFill>
              <a:effectLst/>
              <a:uLnTx/>
              <a:uFillTx/>
              <a:latin typeface="Open Sans"/>
              <a:ea typeface="+mn-ea"/>
              <a:cs typeface="+mn-cs"/>
            </a:endParaRPr>
          </a:p>
        </p:txBody>
      </p:sp>
      <p:sp>
        <p:nvSpPr>
          <p:cNvPr id="10" name="slide number">
            <a:extLst>
              <a:ext uri="{FF2B5EF4-FFF2-40B4-BE49-F238E27FC236}">
                <a16:creationId xmlns:a16="http://schemas.microsoft.com/office/drawing/2014/main" id="{43A8C717-4722-397F-A0C8-433FF5FE640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2FBD8772-FE66-8FDF-84A4-30F5BE97517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E99FB28A-22AA-994E-7043-22AAEC7A3A3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1" name="picture front">
            <a:extLst>
              <a:ext uri="{FF2B5EF4-FFF2-40B4-BE49-F238E27FC236}">
                <a16:creationId xmlns:a16="http://schemas.microsoft.com/office/drawing/2014/main" id="{2E74DA68-A790-58DF-BCB9-34E3B7F38EB0}"/>
              </a:ext>
            </a:extLst>
          </p:cNvPr>
          <p:cNvSpPr>
            <a:spLocks noGrp="1"/>
          </p:cNvSpPr>
          <p:nvPr>
            <p:ph type="pic" sz="quarter" idx="17"/>
          </p:nvPr>
        </p:nvSpPr>
        <p:spPr>
          <a:xfrm>
            <a:off x="8412002" y="1627187"/>
            <a:ext cx="2340000" cy="4613955"/>
          </a:xfrm>
          <a:prstGeom prst="roundRect">
            <a:avLst>
              <a:gd name="adj" fmla="val 11275"/>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dirty="0"/>
          </a:p>
        </p:txBody>
      </p:sp>
      <p:sp>
        <p:nvSpPr>
          <p:cNvPr id="15" name="content 2">
            <a:extLst>
              <a:ext uri="{FF2B5EF4-FFF2-40B4-BE49-F238E27FC236}">
                <a16:creationId xmlns:a16="http://schemas.microsoft.com/office/drawing/2014/main" id="{721B5AA9-0EFD-C504-CCC2-7DA201A87084}"/>
              </a:ext>
            </a:extLst>
          </p:cNvPr>
          <p:cNvSpPr>
            <a:spLocks noGrp="1"/>
          </p:cNvSpPr>
          <p:nvPr>
            <p:ph sz="quarter" idx="19" hasCustomPrompt="1"/>
          </p:nvPr>
        </p:nvSpPr>
        <p:spPr>
          <a:xfrm>
            <a:off x="4205025" y="1476000"/>
            <a:ext cx="3420000" cy="468153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First level</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content 1">
            <a:extLst>
              <a:ext uri="{FF2B5EF4-FFF2-40B4-BE49-F238E27FC236}">
                <a16:creationId xmlns:a16="http://schemas.microsoft.com/office/drawing/2014/main" id="{DD0A18D2-5F71-F86D-980D-AF35B8104C72}"/>
              </a:ext>
            </a:extLst>
          </p:cNvPr>
          <p:cNvSpPr>
            <a:spLocks noGrp="1"/>
          </p:cNvSpPr>
          <p:nvPr>
            <p:ph sz="quarter" idx="18" hasCustomPrompt="1"/>
          </p:nvPr>
        </p:nvSpPr>
        <p:spPr>
          <a:xfrm>
            <a:off x="540000" y="1476000"/>
            <a:ext cx="3420000" cy="468153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First level</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a:extLst>
              <a:ext uri="{FF2B5EF4-FFF2-40B4-BE49-F238E27FC236}">
                <a16:creationId xmlns:a16="http://schemas.microsoft.com/office/drawing/2014/main" id="{7FE1E167-5B62-BEF8-DF11-0EE0B2E2F6BA}"/>
              </a:ext>
            </a:extLst>
          </p:cNvPr>
          <p:cNvSpPr>
            <a:spLocks noGrp="1"/>
          </p:cNvSpPr>
          <p:nvPr>
            <p:ph type="title"/>
          </p:nvPr>
        </p:nvSpPr>
        <p:spPr>
          <a:xfrm>
            <a:off x="540000" y="622301"/>
            <a:ext cx="11088000" cy="648000"/>
          </a:xfrm>
        </p:spPr>
        <p:txBody>
          <a:bodyPr vert="horz"/>
          <a:lstStyle/>
          <a:p>
            <a:r>
              <a:rPr lang="de-DE"/>
              <a:t>Mastertitelformat bearbeiten</a:t>
            </a:r>
            <a:endParaRPr lang="en-US"/>
          </a:p>
        </p:txBody>
      </p:sp>
      <p:sp>
        <p:nvSpPr>
          <p:cNvPr id="2" name="navigation">
            <a:extLst>
              <a:ext uri="{FF2B5EF4-FFF2-40B4-BE49-F238E27FC236}">
                <a16:creationId xmlns:a16="http://schemas.microsoft.com/office/drawing/2014/main" id="{AD6AF56D-58A3-40A6-7508-E3363684801A}"/>
              </a:ext>
            </a:extLst>
          </p:cNvPr>
          <p:cNvSpPr>
            <a:spLocks noGrp="1"/>
          </p:cNvSpPr>
          <p:nvPr>
            <p:ph type="body" sz="quarter" idx="14"/>
          </p:nvPr>
        </p:nvSpPr>
        <p:spPr>
          <a:xfrm>
            <a:off x="576000" y="396000"/>
            <a:ext cx="11052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27080619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  024c : pc : mobile : laptop ">
    <p:spTree>
      <p:nvGrpSpPr>
        <p:cNvPr id="1" name=""/>
        <p:cNvGrpSpPr/>
        <p:nvPr/>
      </p:nvGrpSpPr>
      <p:grpSpPr>
        <a:xfrm>
          <a:off x="0" y="0"/>
          <a:ext cx="0" cy="0"/>
          <a:chOff x="0" y="0"/>
          <a:chExt cx="0" cy="0"/>
        </a:xfrm>
      </p:grpSpPr>
      <p:sp>
        <p:nvSpPr>
          <p:cNvPr id="10" name="slide number">
            <a:extLst>
              <a:ext uri="{FF2B5EF4-FFF2-40B4-BE49-F238E27FC236}">
                <a16:creationId xmlns:a16="http://schemas.microsoft.com/office/drawing/2014/main" id="{43A8C717-4722-397F-A0C8-433FF5FE640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2FBD8772-FE66-8FDF-84A4-30F5BE97517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E99FB28A-22AA-994E-7043-22AAEC7A3A3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8" name="content 1">
            <a:extLst>
              <a:ext uri="{FF2B5EF4-FFF2-40B4-BE49-F238E27FC236}">
                <a16:creationId xmlns:a16="http://schemas.microsoft.com/office/drawing/2014/main" id="{DD0A18D2-5F71-F86D-980D-AF35B8104C72}"/>
              </a:ext>
            </a:extLst>
          </p:cNvPr>
          <p:cNvSpPr>
            <a:spLocks noGrp="1"/>
          </p:cNvSpPr>
          <p:nvPr>
            <p:ph sz="quarter" idx="18" hasCustomPrompt="1"/>
          </p:nvPr>
        </p:nvSpPr>
        <p:spPr>
          <a:xfrm>
            <a:off x="540000" y="1476000"/>
            <a:ext cx="2759246" cy="468153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First level</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a:extLst>
              <a:ext uri="{FF2B5EF4-FFF2-40B4-BE49-F238E27FC236}">
                <a16:creationId xmlns:a16="http://schemas.microsoft.com/office/drawing/2014/main" id="{7FE1E167-5B62-BEF8-DF11-0EE0B2E2F6BA}"/>
              </a:ext>
            </a:extLst>
          </p:cNvPr>
          <p:cNvSpPr>
            <a:spLocks noGrp="1"/>
          </p:cNvSpPr>
          <p:nvPr>
            <p:ph type="title"/>
          </p:nvPr>
        </p:nvSpPr>
        <p:spPr>
          <a:xfrm>
            <a:off x="539999" y="622301"/>
            <a:ext cx="11088000" cy="648000"/>
          </a:xfrm>
        </p:spPr>
        <p:txBody>
          <a:bodyPr vert="horz"/>
          <a:lstStyle/>
          <a:p>
            <a:r>
              <a:rPr lang="de-DE"/>
              <a:t>Mastertitelformat bearbeiten</a:t>
            </a:r>
            <a:endParaRPr lang="en-US"/>
          </a:p>
        </p:txBody>
      </p:sp>
      <p:sp>
        <p:nvSpPr>
          <p:cNvPr id="2" name="navigation">
            <a:extLst>
              <a:ext uri="{FF2B5EF4-FFF2-40B4-BE49-F238E27FC236}">
                <a16:creationId xmlns:a16="http://schemas.microsoft.com/office/drawing/2014/main" id="{AD6AF56D-58A3-40A6-7508-E3363684801A}"/>
              </a:ext>
            </a:extLst>
          </p:cNvPr>
          <p:cNvSpPr>
            <a:spLocks noGrp="1"/>
          </p:cNvSpPr>
          <p:nvPr>
            <p:ph type="body" sz="quarter" idx="14"/>
          </p:nvPr>
        </p:nvSpPr>
        <p:spPr>
          <a:xfrm>
            <a:off x="576000" y="396000"/>
            <a:ext cx="11052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pic>
        <p:nvPicPr>
          <p:cNvPr id="3" name="Picture 2">
            <a:extLst>
              <a:ext uri="{FF2B5EF4-FFF2-40B4-BE49-F238E27FC236}">
                <a16:creationId xmlns:a16="http://schemas.microsoft.com/office/drawing/2014/main" id="{155A858E-D580-32EE-9F1A-F03391D9974B}"/>
              </a:ext>
            </a:extLst>
          </p:cNvPr>
          <p:cNvPicPr>
            <a:picLocks noChangeAspect="1"/>
          </p:cNvPicPr>
          <p:nvPr/>
        </p:nvPicPr>
        <p:blipFill>
          <a:blip r:embed="rId2"/>
          <a:stretch>
            <a:fillRect/>
          </a:stretch>
        </p:blipFill>
        <p:spPr>
          <a:xfrm>
            <a:off x="3527118" y="1568896"/>
            <a:ext cx="8187638" cy="4627265"/>
          </a:xfrm>
          <a:prstGeom prst="rect">
            <a:avLst/>
          </a:prstGeom>
        </p:spPr>
      </p:pic>
      <p:sp>
        <p:nvSpPr>
          <p:cNvPr id="5" name="picture front">
            <a:extLst>
              <a:ext uri="{FF2B5EF4-FFF2-40B4-BE49-F238E27FC236}">
                <a16:creationId xmlns:a16="http://schemas.microsoft.com/office/drawing/2014/main" id="{9EA85C24-08AD-4B32-61D4-31BFD8E27587}"/>
              </a:ext>
            </a:extLst>
          </p:cNvPr>
          <p:cNvSpPr>
            <a:spLocks noGrp="1"/>
          </p:cNvSpPr>
          <p:nvPr>
            <p:ph type="pic" sz="quarter" idx="23"/>
          </p:nvPr>
        </p:nvSpPr>
        <p:spPr>
          <a:xfrm>
            <a:off x="3728203" y="1757686"/>
            <a:ext cx="4422992" cy="2621823"/>
          </a:xfrm>
          <a:custGeom>
            <a:avLst/>
            <a:gdLst>
              <a:gd name="connsiteX0" fmla="*/ 0 w 4796460"/>
              <a:gd name="connsiteY0" fmla="*/ 74741 h 2780557"/>
              <a:gd name="connsiteX1" fmla="*/ 74741 w 4796460"/>
              <a:gd name="connsiteY1" fmla="*/ 0 h 2780557"/>
              <a:gd name="connsiteX2" fmla="*/ 4721719 w 4796460"/>
              <a:gd name="connsiteY2" fmla="*/ 0 h 2780557"/>
              <a:gd name="connsiteX3" fmla="*/ 4796460 w 4796460"/>
              <a:gd name="connsiteY3" fmla="*/ 74741 h 2780557"/>
              <a:gd name="connsiteX4" fmla="*/ 4796460 w 4796460"/>
              <a:gd name="connsiteY4" fmla="*/ 2705816 h 2780557"/>
              <a:gd name="connsiteX5" fmla="*/ 4721719 w 4796460"/>
              <a:gd name="connsiteY5" fmla="*/ 2780557 h 2780557"/>
              <a:gd name="connsiteX6" fmla="*/ 74741 w 4796460"/>
              <a:gd name="connsiteY6" fmla="*/ 2780557 h 2780557"/>
              <a:gd name="connsiteX7" fmla="*/ 0 w 4796460"/>
              <a:gd name="connsiteY7" fmla="*/ 2705816 h 2780557"/>
              <a:gd name="connsiteX8" fmla="*/ 0 w 4796460"/>
              <a:gd name="connsiteY8" fmla="*/ 74741 h 2780557"/>
              <a:gd name="connsiteX0" fmla="*/ 0 w 4796460"/>
              <a:gd name="connsiteY0" fmla="*/ 74741 h 2780557"/>
              <a:gd name="connsiteX1" fmla="*/ 74741 w 4796460"/>
              <a:gd name="connsiteY1" fmla="*/ 0 h 2780557"/>
              <a:gd name="connsiteX2" fmla="*/ 4721719 w 4796460"/>
              <a:gd name="connsiteY2" fmla="*/ 0 h 2780557"/>
              <a:gd name="connsiteX3" fmla="*/ 4796460 w 4796460"/>
              <a:gd name="connsiteY3" fmla="*/ 74741 h 2780557"/>
              <a:gd name="connsiteX4" fmla="*/ 4796460 w 4796460"/>
              <a:gd name="connsiteY4" fmla="*/ 2705816 h 2780557"/>
              <a:gd name="connsiteX5" fmla="*/ 4423269 w 4796460"/>
              <a:gd name="connsiteY5" fmla="*/ 2780557 h 2780557"/>
              <a:gd name="connsiteX6" fmla="*/ 74741 w 4796460"/>
              <a:gd name="connsiteY6" fmla="*/ 2780557 h 2780557"/>
              <a:gd name="connsiteX7" fmla="*/ 0 w 4796460"/>
              <a:gd name="connsiteY7" fmla="*/ 2705816 h 2780557"/>
              <a:gd name="connsiteX8" fmla="*/ 0 w 4796460"/>
              <a:gd name="connsiteY8" fmla="*/ 74741 h 2780557"/>
              <a:gd name="connsiteX0" fmla="*/ 0 w 4802810"/>
              <a:gd name="connsiteY0" fmla="*/ 74741 h 2780557"/>
              <a:gd name="connsiteX1" fmla="*/ 74741 w 4802810"/>
              <a:gd name="connsiteY1" fmla="*/ 0 h 2780557"/>
              <a:gd name="connsiteX2" fmla="*/ 4721719 w 4802810"/>
              <a:gd name="connsiteY2" fmla="*/ 0 h 2780557"/>
              <a:gd name="connsiteX3" fmla="*/ 4796460 w 4802810"/>
              <a:gd name="connsiteY3" fmla="*/ 74741 h 2780557"/>
              <a:gd name="connsiteX4" fmla="*/ 4802810 w 4802810"/>
              <a:gd name="connsiteY4" fmla="*/ 1480266 h 2780557"/>
              <a:gd name="connsiteX5" fmla="*/ 4423269 w 4802810"/>
              <a:gd name="connsiteY5" fmla="*/ 2780557 h 2780557"/>
              <a:gd name="connsiteX6" fmla="*/ 74741 w 4802810"/>
              <a:gd name="connsiteY6" fmla="*/ 2780557 h 2780557"/>
              <a:gd name="connsiteX7" fmla="*/ 0 w 4802810"/>
              <a:gd name="connsiteY7" fmla="*/ 2705816 h 2780557"/>
              <a:gd name="connsiteX8" fmla="*/ 0 w 4802810"/>
              <a:gd name="connsiteY8" fmla="*/ 74741 h 2780557"/>
              <a:gd name="connsiteX0" fmla="*/ 0 w 4802810"/>
              <a:gd name="connsiteY0" fmla="*/ 74741 h 2780557"/>
              <a:gd name="connsiteX1" fmla="*/ 74741 w 4802810"/>
              <a:gd name="connsiteY1" fmla="*/ 0 h 2780557"/>
              <a:gd name="connsiteX2" fmla="*/ 4721719 w 4802810"/>
              <a:gd name="connsiteY2" fmla="*/ 0 h 2780557"/>
              <a:gd name="connsiteX3" fmla="*/ 4796460 w 4802810"/>
              <a:gd name="connsiteY3" fmla="*/ 74741 h 2780557"/>
              <a:gd name="connsiteX4" fmla="*/ 4802810 w 4802810"/>
              <a:gd name="connsiteY4" fmla="*/ 1480266 h 2780557"/>
              <a:gd name="connsiteX5" fmla="*/ 4433434 w 4802810"/>
              <a:gd name="connsiteY5" fmla="*/ 1552397 h 2780557"/>
              <a:gd name="connsiteX6" fmla="*/ 4423269 w 4802810"/>
              <a:gd name="connsiteY6" fmla="*/ 2780557 h 2780557"/>
              <a:gd name="connsiteX7" fmla="*/ 74741 w 4802810"/>
              <a:gd name="connsiteY7" fmla="*/ 2780557 h 2780557"/>
              <a:gd name="connsiteX8" fmla="*/ 0 w 4802810"/>
              <a:gd name="connsiteY8" fmla="*/ 2705816 h 2780557"/>
              <a:gd name="connsiteX9" fmla="*/ 0 w 4802810"/>
              <a:gd name="connsiteY9" fmla="*/ 74741 h 2780557"/>
              <a:gd name="connsiteX0" fmla="*/ 0 w 4802810"/>
              <a:gd name="connsiteY0" fmla="*/ 74741 h 2780557"/>
              <a:gd name="connsiteX1" fmla="*/ 74741 w 4802810"/>
              <a:gd name="connsiteY1" fmla="*/ 0 h 2780557"/>
              <a:gd name="connsiteX2" fmla="*/ 4721719 w 4802810"/>
              <a:gd name="connsiteY2" fmla="*/ 0 h 2780557"/>
              <a:gd name="connsiteX3" fmla="*/ 4796460 w 4802810"/>
              <a:gd name="connsiteY3" fmla="*/ 74741 h 2780557"/>
              <a:gd name="connsiteX4" fmla="*/ 4802810 w 4802810"/>
              <a:gd name="connsiteY4" fmla="*/ 1480266 h 2780557"/>
              <a:gd name="connsiteX5" fmla="*/ 4433434 w 4802810"/>
              <a:gd name="connsiteY5" fmla="*/ 1552397 h 2780557"/>
              <a:gd name="connsiteX6" fmla="*/ 4423269 w 4802810"/>
              <a:gd name="connsiteY6" fmla="*/ 2780557 h 2780557"/>
              <a:gd name="connsiteX7" fmla="*/ 74741 w 4802810"/>
              <a:gd name="connsiteY7" fmla="*/ 2780557 h 2780557"/>
              <a:gd name="connsiteX8" fmla="*/ 0 w 4802810"/>
              <a:gd name="connsiteY8" fmla="*/ 2705816 h 2780557"/>
              <a:gd name="connsiteX9" fmla="*/ 0 w 4802810"/>
              <a:gd name="connsiteY9" fmla="*/ 74741 h 2780557"/>
              <a:gd name="connsiteX0" fmla="*/ 0 w 4802810"/>
              <a:gd name="connsiteY0" fmla="*/ 74741 h 2780557"/>
              <a:gd name="connsiteX1" fmla="*/ 74741 w 4802810"/>
              <a:gd name="connsiteY1" fmla="*/ 0 h 2780557"/>
              <a:gd name="connsiteX2" fmla="*/ 4721719 w 4802810"/>
              <a:gd name="connsiteY2" fmla="*/ 0 h 2780557"/>
              <a:gd name="connsiteX3" fmla="*/ 4796460 w 4802810"/>
              <a:gd name="connsiteY3" fmla="*/ 74741 h 2780557"/>
              <a:gd name="connsiteX4" fmla="*/ 4802810 w 4802810"/>
              <a:gd name="connsiteY4" fmla="*/ 1480266 h 2780557"/>
              <a:gd name="connsiteX5" fmla="*/ 4433434 w 4802810"/>
              <a:gd name="connsiteY5" fmla="*/ 1552397 h 2780557"/>
              <a:gd name="connsiteX6" fmla="*/ 4423269 w 4802810"/>
              <a:gd name="connsiteY6" fmla="*/ 2780557 h 2780557"/>
              <a:gd name="connsiteX7" fmla="*/ 74741 w 4802810"/>
              <a:gd name="connsiteY7" fmla="*/ 2780557 h 2780557"/>
              <a:gd name="connsiteX8" fmla="*/ 0 w 4802810"/>
              <a:gd name="connsiteY8" fmla="*/ 2705816 h 2780557"/>
              <a:gd name="connsiteX9" fmla="*/ 0 w 4802810"/>
              <a:gd name="connsiteY9" fmla="*/ 74741 h 2780557"/>
              <a:gd name="connsiteX0" fmla="*/ 0 w 4802810"/>
              <a:gd name="connsiteY0" fmla="*/ 74741 h 2780557"/>
              <a:gd name="connsiteX1" fmla="*/ 74741 w 4802810"/>
              <a:gd name="connsiteY1" fmla="*/ 0 h 2780557"/>
              <a:gd name="connsiteX2" fmla="*/ 4721719 w 4802810"/>
              <a:gd name="connsiteY2" fmla="*/ 0 h 2780557"/>
              <a:gd name="connsiteX3" fmla="*/ 4796460 w 4802810"/>
              <a:gd name="connsiteY3" fmla="*/ 74741 h 2780557"/>
              <a:gd name="connsiteX4" fmla="*/ 4802810 w 4802810"/>
              <a:gd name="connsiteY4" fmla="*/ 1480266 h 2780557"/>
              <a:gd name="connsiteX5" fmla="*/ 4433434 w 4802810"/>
              <a:gd name="connsiteY5" fmla="*/ 1552397 h 2780557"/>
              <a:gd name="connsiteX6" fmla="*/ 4423269 w 4802810"/>
              <a:gd name="connsiteY6" fmla="*/ 2780557 h 2780557"/>
              <a:gd name="connsiteX7" fmla="*/ 74741 w 4802810"/>
              <a:gd name="connsiteY7" fmla="*/ 2780557 h 2780557"/>
              <a:gd name="connsiteX8" fmla="*/ 0 w 4802810"/>
              <a:gd name="connsiteY8" fmla="*/ 2705816 h 2780557"/>
              <a:gd name="connsiteX9" fmla="*/ 0 w 4802810"/>
              <a:gd name="connsiteY9" fmla="*/ 74741 h 2780557"/>
              <a:gd name="connsiteX0" fmla="*/ 0 w 4802810"/>
              <a:gd name="connsiteY0" fmla="*/ 74741 h 2780557"/>
              <a:gd name="connsiteX1" fmla="*/ 74741 w 4802810"/>
              <a:gd name="connsiteY1" fmla="*/ 0 h 2780557"/>
              <a:gd name="connsiteX2" fmla="*/ 4721719 w 4802810"/>
              <a:gd name="connsiteY2" fmla="*/ 0 h 2780557"/>
              <a:gd name="connsiteX3" fmla="*/ 4796460 w 4802810"/>
              <a:gd name="connsiteY3" fmla="*/ 74741 h 2780557"/>
              <a:gd name="connsiteX4" fmla="*/ 4802810 w 4802810"/>
              <a:gd name="connsiteY4" fmla="*/ 1480266 h 2780557"/>
              <a:gd name="connsiteX5" fmla="*/ 4433434 w 4802810"/>
              <a:gd name="connsiteY5" fmla="*/ 1552397 h 2780557"/>
              <a:gd name="connsiteX6" fmla="*/ 4423269 w 4802810"/>
              <a:gd name="connsiteY6" fmla="*/ 2780557 h 2780557"/>
              <a:gd name="connsiteX7" fmla="*/ 74741 w 4802810"/>
              <a:gd name="connsiteY7" fmla="*/ 2780557 h 2780557"/>
              <a:gd name="connsiteX8" fmla="*/ 0 w 4802810"/>
              <a:gd name="connsiteY8" fmla="*/ 2705816 h 2780557"/>
              <a:gd name="connsiteX9" fmla="*/ 0 w 4802810"/>
              <a:gd name="connsiteY9" fmla="*/ 74741 h 2780557"/>
              <a:gd name="connsiteX0" fmla="*/ 0 w 4802810"/>
              <a:gd name="connsiteY0" fmla="*/ 74741 h 3424582"/>
              <a:gd name="connsiteX1" fmla="*/ 74741 w 4802810"/>
              <a:gd name="connsiteY1" fmla="*/ 0 h 3424582"/>
              <a:gd name="connsiteX2" fmla="*/ 4721719 w 4802810"/>
              <a:gd name="connsiteY2" fmla="*/ 0 h 3424582"/>
              <a:gd name="connsiteX3" fmla="*/ 4796460 w 4802810"/>
              <a:gd name="connsiteY3" fmla="*/ 74741 h 3424582"/>
              <a:gd name="connsiteX4" fmla="*/ 4802810 w 4802810"/>
              <a:gd name="connsiteY4" fmla="*/ 1480266 h 3424582"/>
              <a:gd name="connsiteX5" fmla="*/ 4433434 w 4802810"/>
              <a:gd name="connsiteY5" fmla="*/ 1552397 h 3424582"/>
              <a:gd name="connsiteX6" fmla="*/ 4423269 w 4802810"/>
              <a:gd name="connsiteY6" fmla="*/ 2780557 h 3424582"/>
              <a:gd name="connsiteX7" fmla="*/ 74741 w 4802810"/>
              <a:gd name="connsiteY7" fmla="*/ 2780557 h 3424582"/>
              <a:gd name="connsiteX8" fmla="*/ 0 w 4802810"/>
              <a:gd name="connsiteY8" fmla="*/ 2705816 h 3424582"/>
              <a:gd name="connsiteX9" fmla="*/ 0 w 4802810"/>
              <a:gd name="connsiteY9" fmla="*/ 74741 h 3424582"/>
              <a:gd name="connsiteX0" fmla="*/ 0 w 4802810"/>
              <a:gd name="connsiteY0" fmla="*/ 74741 h 3424582"/>
              <a:gd name="connsiteX1" fmla="*/ 74741 w 4802810"/>
              <a:gd name="connsiteY1" fmla="*/ 0 h 3424582"/>
              <a:gd name="connsiteX2" fmla="*/ 4721719 w 4802810"/>
              <a:gd name="connsiteY2" fmla="*/ 0 h 3424582"/>
              <a:gd name="connsiteX3" fmla="*/ 4796460 w 4802810"/>
              <a:gd name="connsiteY3" fmla="*/ 74741 h 3424582"/>
              <a:gd name="connsiteX4" fmla="*/ 4802810 w 4802810"/>
              <a:gd name="connsiteY4" fmla="*/ 1480266 h 3424582"/>
              <a:gd name="connsiteX5" fmla="*/ 4433434 w 4802810"/>
              <a:gd name="connsiteY5" fmla="*/ 1552397 h 3424582"/>
              <a:gd name="connsiteX6" fmla="*/ 4423269 w 4802810"/>
              <a:gd name="connsiteY6" fmla="*/ 2780557 h 3424582"/>
              <a:gd name="connsiteX7" fmla="*/ 74741 w 4802810"/>
              <a:gd name="connsiteY7" fmla="*/ 2780557 h 3424582"/>
              <a:gd name="connsiteX8" fmla="*/ 0 w 4802810"/>
              <a:gd name="connsiteY8" fmla="*/ 2705816 h 3424582"/>
              <a:gd name="connsiteX9" fmla="*/ 0 w 4802810"/>
              <a:gd name="connsiteY9" fmla="*/ 74741 h 3424582"/>
              <a:gd name="connsiteX0" fmla="*/ 0 w 4802810"/>
              <a:gd name="connsiteY0" fmla="*/ 74741 h 2783938"/>
              <a:gd name="connsiteX1" fmla="*/ 74741 w 4802810"/>
              <a:gd name="connsiteY1" fmla="*/ 0 h 2783938"/>
              <a:gd name="connsiteX2" fmla="*/ 4721719 w 4802810"/>
              <a:gd name="connsiteY2" fmla="*/ 0 h 2783938"/>
              <a:gd name="connsiteX3" fmla="*/ 4796460 w 4802810"/>
              <a:gd name="connsiteY3" fmla="*/ 74741 h 2783938"/>
              <a:gd name="connsiteX4" fmla="*/ 4802810 w 4802810"/>
              <a:gd name="connsiteY4" fmla="*/ 1480266 h 2783938"/>
              <a:gd name="connsiteX5" fmla="*/ 4433434 w 4802810"/>
              <a:gd name="connsiteY5" fmla="*/ 1552397 h 2783938"/>
              <a:gd name="connsiteX6" fmla="*/ 4423269 w 4802810"/>
              <a:gd name="connsiteY6" fmla="*/ 2780557 h 2783938"/>
              <a:gd name="connsiteX7" fmla="*/ 74741 w 4802810"/>
              <a:gd name="connsiteY7" fmla="*/ 2780557 h 2783938"/>
              <a:gd name="connsiteX8" fmla="*/ 0 w 4802810"/>
              <a:gd name="connsiteY8" fmla="*/ 2705816 h 2783938"/>
              <a:gd name="connsiteX9" fmla="*/ 0 w 4802810"/>
              <a:gd name="connsiteY9" fmla="*/ 74741 h 2783938"/>
              <a:gd name="connsiteX0" fmla="*/ 0 w 4802810"/>
              <a:gd name="connsiteY0" fmla="*/ 74741 h 2783938"/>
              <a:gd name="connsiteX1" fmla="*/ 74741 w 4802810"/>
              <a:gd name="connsiteY1" fmla="*/ 0 h 2783938"/>
              <a:gd name="connsiteX2" fmla="*/ 4721719 w 4802810"/>
              <a:gd name="connsiteY2" fmla="*/ 0 h 2783938"/>
              <a:gd name="connsiteX3" fmla="*/ 4796460 w 4802810"/>
              <a:gd name="connsiteY3" fmla="*/ 74741 h 2783938"/>
              <a:gd name="connsiteX4" fmla="*/ 4802810 w 4802810"/>
              <a:gd name="connsiteY4" fmla="*/ 1480266 h 2783938"/>
              <a:gd name="connsiteX5" fmla="*/ 4490584 w 4802810"/>
              <a:gd name="connsiteY5" fmla="*/ 1514297 h 2783938"/>
              <a:gd name="connsiteX6" fmla="*/ 4423269 w 4802810"/>
              <a:gd name="connsiteY6" fmla="*/ 2780557 h 2783938"/>
              <a:gd name="connsiteX7" fmla="*/ 74741 w 4802810"/>
              <a:gd name="connsiteY7" fmla="*/ 2780557 h 2783938"/>
              <a:gd name="connsiteX8" fmla="*/ 0 w 4802810"/>
              <a:gd name="connsiteY8" fmla="*/ 2705816 h 2783938"/>
              <a:gd name="connsiteX9" fmla="*/ 0 w 4802810"/>
              <a:gd name="connsiteY9" fmla="*/ 74741 h 2783938"/>
              <a:gd name="connsiteX0" fmla="*/ 0 w 4802810"/>
              <a:gd name="connsiteY0" fmla="*/ 74741 h 2783938"/>
              <a:gd name="connsiteX1" fmla="*/ 74741 w 4802810"/>
              <a:gd name="connsiteY1" fmla="*/ 0 h 2783938"/>
              <a:gd name="connsiteX2" fmla="*/ 4721719 w 4802810"/>
              <a:gd name="connsiteY2" fmla="*/ 0 h 2783938"/>
              <a:gd name="connsiteX3" fmla="*/ 4796460 w 4802810"/>
              <a:gd name="connsiteY3" fmla="*/ 74741 h 2783938"/>
              <a:gd name="connsiteX4" fmla="*/ 4802810 w 4802810"/>
              <a:gd name="connsiteY4" fmla="*/ 1480266 h 2783938"/>
              <a:gd name="connsiteX5" fmla="*/ 4490584 w 4802810"/>
              <a:gd name="connsiteY5" fmla="*/ 1514297 h 2783938"/>
              <a:gd name="connsiteX6" fmla="*/ 4423269 w 4802810"/>
              <a:gd name="connsiteY6" fmla="*/ 2780557 h 2783938"/>
              <a:gd name="connsiteX7" fmla="*/ 74741 w 4802810"/>
              <a:gd name="connsiteY7" fmla="*/ 2780557 h 2783938"/>
              <a:gd name="connsiteX8" fmla="*/ 0 w 4802810"/>
              <a:gd name="connsiteY8" fmla="*/ 2705816 h 2783938"/>
              <a:gd name="connsiteX9" fmla="*/ 0 w 4802810"/>
              <a:gd name="connsiteY9" fmla="*/ 74741 h 2783938"/>
              <a:gd name="connsiteX0" fmla="*/ 0 w 4802810"/>
              <a:gd name="connsiteY0" fmla="*/ 74741 h 2783938"/>
              <a:gd name="connsiteX1" fmla="*/ 74741 w 4802810"/>
              <a:gd name="connsiteY1" fmla="*/ 0 h 2783938"/>
              <a:gd name="connsiteX2" fmla="*/ 4721719 w 4802810"/>
              <a:gd name="connsiteY2" fmla="*/ 0 h 2783938"/>
              <a:gd name="connsiteX3" fmla="*/ 4796460 w 4802810"/>
              <a:gd name="connsiteY3" fmla="*/ 74741 h 2783938"/>
              <a:gd name="connsiteX4" fmla="*/ 4802810 w 4802810"/>
              <a:gd name="connsiteY4" fmla="*/ 1480266 h 2783938"/>
              <a:gd name="connsiteX5" fmla="*/ 4490584 w 4802810"/>
              <a:gd name="connsiteY5" fmla="*/ 1514297 h 2783938"/>
              <a:gd name="connsiteX6" fmla="*/ 4423269 w 4802810"/>
              <a:gd name="connsiteY6" fmla="*/ 2780557 h 2783938"/>
              <a:gd name="connsiteX7" fmla="*/ 74741 w 4802810"/>
              <a:gd name="connsiteY7" fmla="*/ 2780557 h 2783938"/>
              <a:gd name="connsiteX8" fmla="*/ 0 w 4802810"/>
              <a:gd name="connsiteY8" fmla="*/ 2705816 h 2783938"/>
              <a:gd name="connsiteX9" fmla="*/ 0 w 4802810"/>
              <a:gd name="connsiteY9" fmla="*/ 74741 h 2783938"/>
              <a:gd name="connsiteX0" fmla="*/ 0 w 4802810"/>
              <a:gd name="connsiteY0" fmla="*/ 74741 h 2783938"/>
              <a:gd name="connsiteX1" fmla="*/ 74741 w 4802810"/>
              <a:gd name="connsiteY1" fmla="*/ 0 h 2783938"/>
              <a:gd name="connsiteX2" fmla="*/ 4721719 w 4802810"/>
              <a:gd name="connsiteY2" fmla="*/ 0 h 2783938"/>
              <a:gd name="connsiteX3" fmla="*/ 4796460 w 4802810"/>
              <a:gd name="connsiteY3" fmla="*/ 74741 h 2783938"/>
              <a:gd name="connsiteX4" fmla="*/ 4802810 w 4802810"/>
              <a:gd name="connsiteY4" fmla="*/ 1480266 h 2783938"/>
              <a:gd name="connsiteX5" fmla="*/ 4490584 w 4802810"/>
              <a:gd name="connsiteY5" fmla="*/ 1514297 h 2783938"/>
              <a:gd name="connsiteX6" fmla="*/ 4423269 w 4802810"/>
              <a:gd name="connsiteY6" fmla="*/ 2780557 h 2783938"/>
              <a:gd name="connsiteX7" fmla="*/ 74741 w 4802810"/>
              <a:gd name="connsiteY7" fmla="*/ 2780557 h 2783938"/>
              <a:gd name="connsiteX8" fmla="*/ 0 w 4802810"/>
              <a:gd name="connsiteY8" fmla="*/ 2705816 h 2783938"/>
              <a:gd name="connsiteX9" fmla="*/ 0 w 4802810"/>
              <a:gd name="connsiteY9" fmla="*/ 74741 h 2783938"/>
              <a:gd name="connsiteX0" fmla="*/ 0 w 4802810"/>
              <a:gd name="connsiteY0" fmla="*/ 74741 h 2783938"/>
              <a:gd name="connsiteX1" fmla="*/ 74741 w 4802810"/>
              <a:gd name="connsiteY1" fmla="*/ 0 h 2783938"/>
              <a:gd name="connsiteX2" fmla="*/ 4721719 w 4802810"/>
              <a:gd name="connsiteY2" fmla="*/ 0 h 2783938"/>
              <a:gd name="connsiteX3" fmla="*/ 4796460 w 4802810"/>
              <a:gd name="connsiteY3" fmla="*/ 74741 h 2783938"/>
              <a:gd name="connsiteX4" fmla="*/ 4802810 w 4802810"/>
              <a:gd name="connsiteY4" fmla="*/ 1480266 h 2783938"/>
              <a:gd name="connsiteX5" fmla="*/ 4490584 w 4802810"/>
              <a:gd name="connsiteY5" fmla="*/ 1514297 h 2783938"/>
              <a:gd name="connsiteX6" fmla="*/ 4423269 w 4802810"/>
              <a:gd name="connsiteY6" fmla="*/ 2780557 h 2783938"/>
              <a:gd name="connsiteX7" fmla="*/ 74741 w 4802810"/>
              <a:gd name="connsiteY7" fmla="*/ 2780557 h 2783938"/>
              <a:gd name="connsiteX8" fmla="*/ 0 w 4802810"/>
              <a:gd name="connsiteY8" fmla="*/ 2705816 h 2783938"/>
              <a:gd name="connsiteX9" fmla="*/ 0 w 4802810"/>
              <a:gd name="connsiteY9" fmla="*/ 74741 h 2783938"/>
              <a:gd name="connsiteX0" fmla="*/ 0 w 4802810"/>
              <a:gd name="connsiteY0" fmla="*/ 74741 h 2783938"/>
              <a:gd name="connsiteX1" fmla="*/ 74741 w 4802810"/>
              <a:gd name="connsiteY1" fmla="*/ 0 h 2783938"/>
              <a:gd name="connsiteX2" fmla="*/ 4721719 w 4802810"/>
              <a:gd name="connsiteY2" fmla="*/ 0 h 2783938"/>
              <a:gd name="connsiteX3" fmla="*/ 4796460 w 4802810"/>
              <a:gd name="connsiteY3" fmla="*/ 74741 h 2783938"/>
              <a:gd name="connsiteX4" fmla="*/ 4802810 w 4802810"/>
              <a:gd name="connsiteY4" fmla="*/ 1480266 h 2783938"/>
              <a:gd name="connsiteX5" fmla="*/ 4490584 w 4802810"/>
              <a:gd name="connsiteY5" fmla="*/ 1514297 h 2783938"/>
              <a:gd name="connsiteX6" fmla="*/ 4423269 w 4802810"/>
              <a:gd name="connsiteY6" fmla="*/ 2780557 h 2783938"/>
              <a:gd name="connsiteX7" fmla="*/ 74741 w 4802810"/>
              <a:gd name="connsiteY7" fmla="*/ 2780557 h 2783938"/>
              <a:gd name="connsiteX8" fmla="*/ 0 w 4802810"/>
              <a:gd name="connsiteY8" fmla="*/ 2705816 h 2783938"/>
              <a:gd name="connsiteX9" fmla="*/ 0 w 4802810"/>
              <a:gd name="connsiteY9" fmla="*/ 74741 h 2783938"/>
              <a:gd name="connsiteX0" fmla="*/ 0 w 4802810"/>
              <a:gd name="connsiteY0" fmla="*/ 74741 h 2783938"/>
              <a:gd name="connsiteX1" fmla="*/ 74741 w 4802810"/>
              <a:gd name="connsiteY1" fmla="*/ 0 h 2783938"/>
              <a:gd name="connsiteX2" fmla="*/ 4721719 w 4802810"/>
              <a:gd name="connsiteY2" fmla="*/ 0 h 2783938"/>
              <a:gd name="connsiteX3" fmla="*/ 4796460 w 4802810"/>
              <a:gd name="connsiteY3" fmla="*/ 74741 h 2783938"/>
              <a:gd name="connsiteX4" fmla="*/ 4802810 w 4802810"/>
              <a:gd name="connsiteY4" fmla="*/ 1480266 h 2783938"/>
              <a:gd name="connsiteX5" fmla="*/ 4465184 w 4802810"/>
              <a:gd name="connsiteY5" fmla="*/ 1514297 h 2783938"/>
              <a:gd name="connsiteX6" fmla="*/ 4423269 w 4802810"/>
              <a:gd name="connsiteY6" fmla="*/ 2780557 h 2783938"/>
              <a:gd name="connsiteX7" fmla="*/ 74741 w 4802810"/>
              <a:gd name="connsiteY7" fmla="*/ 2780557 h 2783938"/>
              <a:gd name="connsiteX8" fmla="*/ 0 w 4802810"/>
              <a:gd name="connsiteY8" fmla="*/ 2705816 h 2783938"/>
              <a:gd name="connsiteX9" fmla="*/ 0 w 4802810"/>
              <a:gd name="connsiteY9" fmla="*/ 74741 h 2783938"/>
              <a:gd name="connsiteX0" fmla="*/ 0 w 4802810"/>
              <a:gd name="connsiteY0" fmla="*/ 74741 h 2783938"/>
              <a:gd name="connsiteX1" fmla="*/ 74741 w 4802810"/>
              <a:gd name="connsiteY1" fmla="*/ 0 h 2783938"/>
              <a:gd name="connsiteX2" fmla="*/ 4721719 w 4802810"/>
              <a:gd name="connsiteY2" fmla="*/ 0 h 2783938"/>
              <a:gd name="connsiteX3" fmla="*/ 4796460 w 4802810"/>
              <a:gd name="connsiteY3" fmla="*/ 74741 h 2783938"/>
              <a:gd name="connsiteX4" fmla="*/ 4802810 w 4802810"/>
              <a:gd name="connsiteY4" fmla="*/ 1480266 h 2783938"/>
              <a:gd name="connsiteX5" fmla="*/ 4465184 w 4802810"/>
              <a:gd name="connsiteY5" fmla="*/ 1514297 h 2783938"/>
              <a:gd name="connsiteX6" fmla="*/ 4423269 w 4802810"/>
              <a:gd name="connsiteY6" fmla="*/ 2780557 h 2783938"/>
              <a:gd name="connsiteX7" fmla="*/ 74741 w 4802810"/>
              <a:gd name="connsiteY7" fmla="*/ 2780557 h 2783938"/>
              <a:gd name="connsiteX8" fmla="*/ 0 w 4802810"/>
              <a:gd name="connsiteY8" fmla="*/ 2705816 h 2783938"/>
              <a:gd name="connsiteX9" fmla="*/ 0 w 4802810"/>
              <a:gd name="connsiteY9" fmla="*/ 74741 h 2783938"/>
              <a:gd name="connsiteX0" fmla="*/ 0 w 4807572"/>
              <a:gd name="connsiteY0" fmla="*/ 74741 h 2783938"/>
              <a:gd name="connsiteX1" fmla="*/ 74741 w 4807572"/>
              <a:gd name="connsiteY1" fmla="*/ 0 h 2783938"/>
              <a:gd name="connsiteX2" fmla="*/ 4721719 w 4807572"/>
              <a:gd name="connsiteY2" fmla="*/ 0 h 2783938"/>
              <a:gd name="connsiteX3" fmla="*/ 4796460 w 4807572"/>
              <a:gd name="connsiteY3" fmla="*/ 74741 h 2783938"/>
              <a:gd name="connsiteX4" fmla="*/ 4807572 w 4807572"/>
              <a:gd name="connsiteY4" fmla="*/ 1485028 h 2783938"/>
              <a:gd name="connsiteX5" fmla="*/ 4465184 w 4807572"/>
              <a:gd name="connsiteY5" fmla="*/ 1514297 h 2783938"/>
              <a:gd name="connsiteX6" fmla="*/ 4423269 w 4807572"/>
              <a:gd name="connsiteY6" fmla="*/ 2780557 h 2783938"/>
              <a:gd name="connsiteX7" fmla="*/ 74741 w 4807572"/>
              <a:gd name="connsiteY7" fmla="*/ 2780557 h 2783938"/>
              <a:gd name="connsiteX8" fmla="*/ 0 w 4807572"/>
              <a:gd name="connsiteY8" fmla="*/ 2705816 h 2783938"/>
              <a:gd name="connsiteX9" fmla="*/ 0 w 4807572"/>
              <a:gd name="connsiteY9" fmla="*/ 74741 h 2783938"/>
              <a:gd name="connsiteX0" fmla="*/ 0 w 4807572"/>
              <a:gd name="connsiteY0" fmla="*/ 74741 h 2783938"/>
              <a:gd name="connsiteX1" fmla="*/ 74741 w 4807572"/>
              <a:gd name="connsiteY1" fmla="*/ 0 h 2783938"/>
              <a:gd name="connsiteX2" fmla="*/ 4721719 w 4807572"/>
              <a:gd name="connsiteY2" fmla="*/ 0 h 2783938"/>
              <a:gd name="connsiteX3" fmla="*/ 4796460 w 4807572"/>
              <a:gd name="connsiteY3" fmla="*/ 74741 h 2783938"/>
              <a:gd name="connsiteX4" fmla="*/ 4807572 w 4807572"/>
              <a:gd name="connsiteY4" fmla="*/ 1485028 h 2783938"/>
              <a:gd name="connsiteX5" fmla="*/ 4450897 w 4807572"/>
              <a:gd name="connsiteY5" fmla="*/ 1519060 h 2783938"/>
              <a:gd name="connsiteX6" fmla="*/ 4423269 w 4807572"/>
              <a:gd name="connsiteY6" fmla="*/ 2780557 h 2783938"/>
              <a:gd name="connsiteX7" fmla="*/ 74741 w 4807572"/>
              <a:gd name="connsiteY7" fmla="*/ 2780557 h 2783938"/>
              <a:gd name="connsiteX8" fmla="*/ 0 w 4807572"/>
              <a:gd name="connsiteY8" fmla="*/ 2705816 h 2783938"/>
              <a:gd name="connsiteX9" fmla="*/ 0 w 4807572"/>
              <a:gd name="connsiteY9" fmla="*/ 74741 h 2783938"/>
              <a:gd name="connsiteX0" fmla="*/ 0 w 4807572"/>
              <a:gd name="connsiteY0" fmla="*/ 74741 h 2783938"/>
              <a:gd name="connsiteX1" fmla="*/ 74741 w 4807572"/>
              <a:gd name="connsiteY1" fmla="*/ 0 h 2783938"/>
              <a:gd name="connsiteX2" fmla="*/ 4721719 w 4807572"/>
              <a:gd name="connsiteY2" fmla="*/ 0 h 2783938"/>
              <a:gd name="connsiteX3" fmla="*/ 4796460 w 4807572"/>
              <a:gd name="connsiteY3" fmla="*/ 74741 h 2783938"/>
              <a:gd name="connsiteX4" fmla="*/ 4807572 w 4807572"/>
              <a:gd name="connsiteY4" fmla="*/ 1485028 h 2783938"/>
              <a:gd name="connsiteX5" fmla="*/ 4450897 w 4807572"/>
              <a:gd name="connsiteY5" fmla="*/ 1519060 h 2783938"/>
              <a:gd name="connsiteX6" fmla="*/ 4423269 w 4807572"/>
              <a:gd name="connsiteY6" fmla="*/ 2780557 h 2783938"/>
              <a:gd name="connsiteX7" fmla="*/ 74741 w 4807572"/>
              <a:gd name="connsiteY7" fmla="*/ 2780557 h 2783938"/>
              <a:gd name="connsiteX8" fmla="*/ 0 w 4807572"/>
              <a:gd name="connsiteY8" fmla="*/ 2705816 h 2783938"/>
              <a:gd name="connsiteX9" fmla="*/ 0 w 4807572"/>
              <a:gd name="connsiteY9" fmla="*/ 74741 h 2783938"/>
              <a:gd name="connsiteX0" fmla="*/ 0 w 4802810"/>
              <a:gd name="connsiteY0" fmla="*/ 74741 h 2783938"/>
              <a:gd name="connsiteX1" fmla="*/ 74741 w 4802810"/>
              <a:gd name="connsiteY1" fmla="*/ 0 h 2783938"/>
              <a:gd name="connsiteX2" fmla="*/ 4721719 w 4802810"/>
              <a:gd name="connsiteY2" fmla="*/ 0 h 2783938"/>
              <a:gd name="connsiteX3" fmla="*/ 4796460 w 4802810"/>
              <a:gd name="connsiteY3" fmla="*/ 74741 h 2783938"/>
              <a:gd name="connsiteX4" fmla="*/ 4802810 w 4802810"/>
              <a:gd name="connsiteY4" fmla="*/ 1504078 h 2783938"/>
              <a:gd name="connsiteX5" fmla="*/ 4450897 w 4802810"/>
              <a:gd name="connsiteY5" fmla="*/ 1519060 h 2783938"/>
              <a:gd name="connsiteX6" fmla="*/ 4423269 w 4802810"/>
              <a:gd name="connsiteY6" fmla="*/ 2780557 h 2783938"/>
              <a:gd name="connsiteX7" fmla="*/ 74741 w 4802810"/>
              <a:gd name="connsiteY7" fmla="*/ 2780557 h 2783938"/>
              <a:gd name="connsiteX8" fmla="*/ 0 w 4802810"/>
              <a:gd name="connsiteY8" fmla="*/ 2705816 h 2783938"/>
              <a:gd name="connsiteX9" fmla="*/ 0 w 4802810"/>
              <a:gd name="connsiteY9" fmla="*/ 74741 h 2783938"/>
              <a:gd name="connsiteX0" fmla="*/ 50 w 4802860"/>
              <a:gd name="connsiteY0" fmla="*/ 75136 h 2784333"/>
              <a:gd name="connsiteX1" fmla="*/ 74791 w 4802860"/>
              <a:gd name="connsiteY1" fmla="*/ 395 h 2784333"/>
              <a:gd name="connsiteX2" fmla="*/ 4721769 w 4802860"/>
              <a:gd name="connsiteY2" fmla="*/ 395 h 2784333"/>
              <a:gd name="connsiteX3" fmla="*/ 4796510 w 4802860"/>
              <a:gd name="connsiteY3" fmla="*/ 75136 h 2784333"/>
              <a:gd name="connsiteX4" fmla="*/ 4802860 w 4802860"/>
              <a:gd name="connsiteY4" fmla="*/ 1504473 h 2784333"/>
              <a:gd name="connsiteX5" fmla="*/ 4450947 w 4802860"/>
              <a:gd name="connsiteY5" fmla="*/ 1519455 h 2784333"/>
              <a:gd name="connsiteX6" fmla="*/ 4423319 w 4802860"/>
              <a:gd name="connsiteY6" fmla="*/ 2780952 h 2784333"/>
              <a:gd name="connsiteX7" fmla="*/ 74791 w 4802860"/>
              <a:gd name="connsiteY7" fmla="*/ 2780952 h 2784333"/>
              <a:gd name="connsiteX8" fmla="*/ 50 w 4802860"/>
              <a:gd name="connsiteY8" fmla="*/ 2706211 h 2784333"/>
              <a:gd name="connsiteX9" fmla="*/ 50 w 4802860"/>
              <a:gd name="connsiteY9" fmla="*/ 75136 h 2784333"/>
              <a:gd name="connsiteX0" fmla="*/ 50 w 4802860"/>
              <a:gd name="connsiteY0" fmla="*/ 79455 h 2788652"/>
              <a:gd name="connsiteX1" fmla="*/ 74791 w 4802860"/>
              <a:gd name="connsiteY1" fmla="*/ 4714 h 2788652"/>
              <a:gd name="connsiteX2" fmla="*/ 4750344 w 4802860"/>
              <a:gd name="connsiteY2" fmla="*/ 0 h 2788652"/>
              <a:gd name="connsiteX3" fmla="*/ 4796510 w 4802860"/>
              <a:gd name="connsiteY3" fmla="*/ 79455 h 2788652"/>
              <a:gd name="connsiteX4" fmla="*/ 4802860 w 4802860"/>
              <a:gd name="connsiteY4" fmla="*/ 1508792 h 2788652"/>
              <a:gd name="connsiteX5" fmla="*/ 4450947 w 4802860"/>
              <a:gd name="connsiteY5" fmla="*/ 1523774 h 2788652"/>
              <a:gd name="connsiteX6" fmla="*/ 4423319 w 4802860"/>
              <a:gd name="connsiteY6" fmla="*/ 2785271 h 2788652"/>
              <a:gd name="connsiteX7" fmla="*/ 74791 w 4802860"/>
              <a:gd name="connsiteY7" fmla="*/ 2785271 h 2788652"/>
              <a:gd name="connsiteX8" fmla="*/ 50 w 4802860"/>
              <a:gd name="connsiteY8" fmla="*/ 2710530 h 2788652"/>
              <a:gd name="connsiteX9" fmla="*/ 50 w 4802860"/>
              <a:gd name="connsiteY9" fmla="*/ 79455 h 2788652"/>
              <a:gd name="connsiteX0" fmla="*/ 9525 w 4812335"/>
              <a:gd name="connsiteY0" fmla="*/ 79455 h 2794435"/>
              <a:gd name="connsiteX1" fmla="*/ 84266 w 4812335"/>
              <a:gd name="connsiteY1" fmla="*/ 4714 h 2794435"/>
              <a:gd name="connsiteX2" fmla="*/ 4759819 w 4812335"/>
              <a:gd name="connsiteY2" fmla="*/ 0 h 2794435"/>
              <a:gd name="connsiteX3" fmla="*/ 4805985 w 4812335"/>
              <a:gd name="connsiteY3" fmla="*/ 79455 h 2794435"/>
              <a:gd name="connsiteX4" fmla="*/ 4812335 w 4812335"/>
              <a:gd name="connsiteY4" fmla="*/ 1508792 h 2794435"/>
              <a:gd name="connsiteX5" fmla="*/ 4460422 w 4812335"/>
              <a:gd name="connsiteY5" fmla="*/ 1523774 h 2794435"/>
              <a:gd name="connsiteX6" fmla="*/ 4432794 w 4812335"/>
              <a:gd name="connsiteY6" fmla="*/ 2785271 h 2794435"/>
              <a:gd name="connsiteX7" fmla="*/ 84266 w 4812335"/>
              <a:gd name="connsiteY7" fmla="*/ 2785271 h 2794435"/>
              <a:gd name="connsiteX8" fmla="*/ 0 w 4812335"/>
              <a:gd name="connsiteY8" fmla="*/ 2771806 h 2794435"/>
              <a:gd name="connsiteX9" fmla="*/ 9525 w 4812335"/>
              <a:gd name="connsiteY9" fmla="*/ 79455 h 2794435"/>
              <a:gd name="connsiteX0" fmla="*/ 4762 w 4807572"/>
              <a:gd name="connsiteY0" fmla="*/ 79455 h 2788652"/>
              <a:gd name="connsiteX1" fmla="*/ 79503 w 4807572"/>
              <a:gd name="connsiteY1" fmla="*/ 4714 h 2788652"/>
              <a:gd name="connsiteX2" fmla="*/ 4755056 w 4807572"/>
              <a:gd name="connsiteY2" fmla="*/ 0 h 2788652"/>
              <a:gd name="connsiteX3" fmla="*/ 4801222 w 4807572"/>
              <a:gd name="connsiteY3" fmla="*/ 79455 h 2788652"/>
              <a:gd name="connsiteX4" fmla="*/ 4807572 w 4807572"/>
              <a:gd name="connsiteY4" fmla="*/ 1508792 h 2788652"/>
              <a:gd name="connsiteX5" fmla="*/ 4455659 w 4807572"/>
              <a:gd name="connsiteY5" fmla="*/ 1523774 h 2788652"/>
              <a:gd name="connsiteX6" fmla="*/ 4428031 w 4807572"/>
              <a:gd name="connsiteY6" fmla="*/ 2785271 h 2788652"/>
              <a:gd name="connsiteX7" fmla="*/ 79503 w 4807572"/>
              <a:gd name="connsiteY7" fmla="*/ 2785271 h 2788652"/>
              <a:gd name="connsiteX8" fmla="*/ 0 w 4807572"/>
              <a:gd name="connsiteY8" fmla="*/ 2734098 h 2788652"/>
              <a:gd name="connsiteX9" fmla="*/ 4762 w 4807572"/>
              <a:gd name="connsiteY9" fmla="*/ 79455 h 2788652"/>
              <a:gd name="connsiteX0" fmla="*/ 4762 w 4807572"/>
              <a:gd name="connsiteY0" fmla="*/ 79455 h 2788652"/>
              <a:gd name="connsiteX1" fmla="*/ 79503 w 4807572"/>
              <a:gd name="connsiteY1" fmla="*/ 4714 h 2788652"/>
              <a:gd name="connsiteX2" fmla="*/ 4755056 w 4807572"/>
              <a:gd name="connsiteY2" fmla="*/ 0 h 2788652"/>
              <a:gd name="connsiteX3" fmla="*/ 4801222 w 4807572"/>
              <a:gd name="connsiteY3" fmla="*/ 79455 h 2788652"/>
              <a:gd name="connsiteX4" fmla="*/ 4807572 w 4807572"/>
              <a:gd name="connsiteY4" fmla="*/ 1485224 h 2788652"/>
              <a:gd name="connsiteX5" fmla="*/ 4455659 w 4807572"/>
              <a:gd name="connsiteY5" fmla="*/ 1523774 h 2788652"/>
              <a:gd name="connsiteX6" fmla="*/ 4428031 w 4807572"/>
              <a:gd name="connsiteY6" fmla="*/ 2785271 h 2788652"/>
              <a:gd name="connsiteX7" fmla="*/ 79503 w 4807572"/>
              <a:gd name="connsiteY7" fmla="*/ 2785271 h 2788652"/>
              <a:gd name="connsiteX8" fmla="*/ 0 w 4807572"/>
              <a:gd name="connsiteY8" fmla="*/ 2734098 h 2788652"/>
              <a:gd name="connsiteX9" fmla="*/ 4762 w 4807572"/>
              <a:gd name="connsiteY9" fmla="*/ 79455 h 2788652"/>
              <a:gd name="connsiteX0" fmla="*/ 4762 w 4807572"/>
              <a:gd name="connsiteY0" fmla="*/ 79455 h 2788652"/>
              <a:gd name="connsiteX1" fmla="*/ 79503 w 4807572"/>
              <a:gd name="connsiteY1" fmla="*/ 4714 h 2788652"/>
              <a:gd name="connsiteX2" fmla="*/ 4755056 w 4807572"/>
              <a:gd name="connsiteY2" fmla="*/ 0 h 2788652"/>
              <a:gd name="connsiteX3" fmla="*/ 4801222 w 4807572"/>
              <a:gd name="connsiteY3" fmla="*/ 79455 h 2788652"/>
              <a:gd name="connsiteX4" fmla="*/ 4807572 w 4807572"/>
              <a:gd name="connsiteY4" fmla="*/ 1485224 h 2788652"/>
              <a:gd name="connsiteX5" fmla="*/ 4455659 w 4807572"/>
              <a:gd name="connsiteY5" fmla="*/ 1523774 h 2788652"/>
              <a:gd name="connsiteX6" fmla="*/ 4423268 w 4807572"/>
              <a:gd name="connsiteY6" fmla="*/ 2785271 h 2788652"/>
              <a:gd name="connsiteX7" fmla="*/ 79503 w 4807572"/>
              <a:gd name="connsiteY7" fmla="*/ 2785271 h 2788652"/>
              <a:gd name="connsiteX8" fmla="*/ 0 w 4807572"/>
              <a:gd name="connsiteY8" fmla="*/ 2734098 h 2788652"/>
              <a:gd name="connsiteX9" fmla="*/ 4762 w 4807572"/>
              <a:gd name="connsiteY9" fmla="*/ 79455 h 2788652"/>
              <a:gd name="connsiteX0" fmla="*/ 273123 w 5075933"/>
              <a:gd name="connsiteY0" fmla="*/ 79455 h 2788652"/>
              <a:gd name="connsiteX1" fmla="*/ 347864 w 5075933"/>
              <a:gd name="connsiteY1" fmla="*/ 4714 h 2788652"/>
              <a:gd name="connsiteX2" fmla="*/ 5023417 w 5075933"/>
              <a:gd name="connsiteY2" fmla="*/ 0 h 2788652"/>
              <a:gd name="connsiteX3" fmla="*/ 5069583 w 5075933"/>
              <a:gd name="connsiteY3" fmla="*/ 79455 h 2788652"/>
              <a:gd name="connsiteX4" fmla="*/ 5075933 w 5075933"/>
              <a:gd name="connsiteY4" fmla="*/ 1485224 h 2788652"/>
              <a:gd name="connsiteX5" fmla="*/ 4724020 w 5075933"/>
              <a:gd name="connsiteY5" fmla="*/ 1523774 h 2788652"/>
              <a:gd name="connsiteX6" fmla="*/ 4691629 w 5075933"/>
              <a:gd name="connsiteY6" fmla="*/ 2785271 h 2788652"/>
              <a:gd name="connsiteX7" fmla="*/ 347864 w 5075933"/>
              <a:gd name="connsiteY7" fmla="*/ 2785271 h 2788652"/>
              <a:gd name="connsiteX8" fmla="*/ 273123 w 5075933"/>
              <a:gd name="connsiteY8" fmla="*/ 79455 h 2788652"/>
              <a:gd name="connsiteX0" fmla="*/ 563898 w 5291967"/>
              <a:gd name="connsiteY0" fmla="*/ 2785271 h 2788652"/>
              <a:gd name="connsiteX1" fmla="*/ 563898 w 5291967"/>
              <a:gd name="connsiteY1" fmla="*/ 4714 h 2788652"/>
              <a:gd name="connsiteX2" fmla="*/ 5239451 w 5291967"/>
              <a:gd name="connsiteY2" fmla="*/ 0 h 2788652"/>
              <a:gd name="connsiteX3" fmla="*/ 5285617 w 5291967"/>
              <a:gd name="connsiteY3" fmla="*/ 79455 h 2788652"/>
              <a:gd name="connsiteX4" fmla="*/ 5291967 w 5291967"/>
              <a:gd name="connsiteY4" fmla="*/ 1485224 h 2788652"/>
              <a:gd name="connsiteX5" fmla="*/ 4940054 w 5291967"/>
              <a:gd name="connsiteY5" fmla="*/ 1523774 h 2788652"/>
              <a:gd name="connsiteX6" fmla="*/ 4907663 w 5291967"/>
              <a:gd name="connsiteY6" fmla="*/ 2785271 h 2788652"/>
              <a:gd name="connsiteX7" fmla="*/ 563898 w 5291967"/>
              <a:gd name="connsiteY7" fmla="*/ 2785271 h 2788652"/>
              <a:gd name="connsiteX0" fmla="*/ 613543 w 5341612"/>
              <a:gd name="connsiteY0" fmla="*/ 2785271 h 2788652"/>
              <a:gd name="connsiteX1" fmla="*/ 613543 w 5341612"/>
              <a:gd name="connsiteY1" fmla="*/ 4714 h 2788652"/>
              <a:gd name="connsiteX2" fmla="*/ 5289096 w 5341612"/>
              <a:gd name="connsiteY2" fmla="*/ 0 h 2788652"/>
              <a:gd name="connsiteX3" fmla="*/ 5335262 w 5341612"/>
              <a:gd name="connsiteY3" fmla="*/ 79455 h 2788652"/>
              <a:gd name="connsiteX4" fmla="*/ 5341612 w 5341612"/>
              <a:gd name="connsiteY4" fmla="*/ 1485224 h 2788652"/>
              <a:gd name="connsiteX5" fmla="*/ 4989699 w 5341612"/>
              <a:gd name="connsiteY5" fmla="*/ 1523774 h 2788652"/>
              <a:gd name="connsiteX6" fmla="*/ 4957308 w 5341612"/>
              <a:gd name="connsiteY6" fmla="*/ 2785271 h 2788652"/>
              <a:gd name="connsiteX7" fmla="*/ 613543 w 5341612"/>
              <a:gd name="connsiteY7" fmla="*/ 2785271 h 2788652"/>
              <a:gd name="connsiteX0" fmla="*/ 313517 w 5041586"/>
              <a:gd name="connsiteY0" fmla="*/ 3468185 h 3471566"/>
              <a:gd name="connsiteX1" fmla="*/ 313517 w 5041586"/>
              <a:gd name="connsiteY1" fmla="*/ 687628 h 3471566"/>
              <a:gd name="connsiteX2" fmla="*/ 4989070 w 5041586"/>
              <a:gd name="connsiteY2" fmla="*/ 682914 h 3471566"/>
              <a:gd name="connsiteX3" fmla="*/ 5035236 w 5041586"/>
              <a:gd name="connsiteY3" fmla="*/ 762369 h 3471566"/>
              <a:gd name="connsiteX4" fmla="*/ 5041586 w 5041586"/>
              <a:gd name="connsiteY4" fmla="*/ 2168138 h 3471566"/>
              <a:gd name="connsiteX5" fmla="*/ 4689673 w 5041586"/>
              <a:gd name="connsiteY5" fmla="*/ 2206688 h 3471566"/>
              <a:gd name="connsiteX6" fmla="*/ 4657282 w 5041586"/>
              <a:gd name="connsiteY6" fmla="*/ 3468185 h 3471566"/>
              <a:gd name="connsiteX7" fmla="*/ 313517 w 5041586"/>
              <a:gd name="connsiteY7" fmla="*/ 3468185 h 3471566"/>
              <a:gd name="connsiteX0" fmla="*/ 313517 w 5041586"/>
              <a:gd name="connsiteY0" fmla="*/ 3468185 h 3471566"/>
              <a:gd name="connsiteX1" fmla="*/ 313517 w 5041586"/>
              <a:gd name="connsiteY1" fmla="*/ 687628 h 3471566"/>
              <a:gd name="connsiteX2" fmla="*/ 4989070 w 5041586"/>
              <a:gd name="connsiteY2" fmla="*/ 682914 h 3471566"/>
              <a:gd name="connsiteX3" fmla="*/ 5035236 w 5041586"/>
              <a:gd name="connsiteY3" fmla="*/ 762369 h 3471566"/>
              <a:gd name="connsiteX4" fmla="*/ 5041586 w 5041586"/>
              <a:gd name="connsiteY4" fmla="*/ 2168138 h 3471566"/>
              <a:gd name="connsiteX5" fmla="*/ 4689673 w 5041586"/>
              <a:gd name="connsiteY5" fmla="*/ 2206688 h 3471566"/>
              <a:gd name="connsiteX6" fmla="*/ 4657282 w 5041586"/>
              <a:gd name="connsiteY6" fmla="*/ 3468185 h 3471566"/>
              <a:gd name="connsiteX7" fmla="*/ 313517 w 5041586"/>
              <a:gd name="connsiteY7" fmla="*/ 3468185 h 3471566"/>
              <a:gd name="connsiteX0" fmla="*/ 313517 w 5041586"/>
              <a:gd name="connsiteY0" fmla="*/ 2785271 h 2788652"/>
              <a:gd name="connsiteX1" fmla="*/ 313517 w 5041586"/>
              <a:gd name="connsiteY1" fmla="*/ 4714 h 2788652"/>
              <a:gd name="connsiteX2" fmla="*/ 4989070 w 5041586"/>
              <a:gd name="connsiteY2" fmla="*/ 0 h 2788652"/>
              <a:gd name="connsiteX3" fmla="*/ 5035236 w 5041586"/>
              <a:gd name="connsiteY3" fmla="*/ 79455 h 2788652"/>
              <a:gd name="connsiteX4" fmla="*/ 5041586 w 5041586"/>
              <a:gd name="connsiteY4" fmla="*/ 1485224 h 2788652"/>
              <a:gd name="connsiteX5" fmla="*/ 4689673 w 5041586"/>
              <a:gd name="connsiteY5" fmla="*/ 1523774 h 2788652"/>
              <a:gd name="connsiteX6" fmla="*/ 4657282 w 5041586"/>
              <a:gd name="connsiteY6" fmla="*/ 2785271 h 2788652"/>
              <a:gd name="connsiteX7" fmla="*/ 313517 w 5041586"/>
              <a:gd name="connsiteY7" fmla="*/ 2785271 h 2788652"/>
              <a:gd name="connsiteX0" fmla="*/ 0 w 4728069"/>
              <a:gd name="connsiteY0" fmla="*/ 2785271 h 2788652"/>
              <a:gd name="connsiteX1" fmla="*/ 0 w 4728069"/>
              <a:gd name="connsiteY1" fmla="*/ 4714 h 2788652"/>
              <a:gd name="connsiteX2" fmla="*/ 4675553 w 4728069"/>
              <a:gd name="connsiteY2" fmla="*/ 0 h 2788652"/>
              <a:gd name="connsiteX3" fmla="*/ 4721719 w 4728069"/>
              <a:gd name="connsiteY3" fmla="*/ 79455 h 2788652"/>
              <a:gd name="connsiteX4" fmla="*/ 4728069 w 4728069"/>
              <a:gd name="connsiteY4" fmla="*/ 1485224 h 2788652"/>
              <a:gd name="connsiteX5" fmla="*/ 4376156 w 4728069"/>
              <a:gd name="connsiteY5" fmla="*/ 1523774 h 2788652"/>
              <a:gd name="connsiteX6" fmla="*/ 4343765 w 4728069"/>
              <a:gd name="connsiteY6" fmla="*/ 2785271 h 2788652"/>
              <a:gd name="connsiteX7" fmla="*/ 0 w 4728069"/>
              <a:gd name="connsiteY7" fmla="*/ 2785271 h 2788652"/>
              <a:gd name="connsiteX0" fmla="*/ 0 w 4809032"/>
              <a:gd name="connsiteY0" fmla="*/ 2799412 h 2799412"/>
              <a:gd name="connsiteX1" fmla="*/ 80963 w 4809032"/>
              <a:gd name="connsiteY1" fmla="*/ 4714 h 2799412"/>
              <a:gd name="connsiteX2" fmla="*/ 4756516 w 4809032"/>
              <a:gd name="connsiteY2" fmla="*/ 0 h 2799412"/>
              <a:gd name="connsiteX3" fmla="*/ 4802682 w 4809032"/>
              <a:gd name="connsiteY3" fmla="*/ 79455 h 2799412"/>
              <a:gd name="connsiteX4" fmla="*/ 4809032 w 4809032"/>
              <a:gd name="connsiteY4" fmla="*/ 1485224 h 2799412"/>
              <a:gd name="connsiteX5" fmla="*/ 4457119 w 4809032"/>
              <a:gd name="connsiteY5" fmla="*/ 1523774 h 2799412"/>
              <a:gd name="connsiteX6" fmla="*/ 4424728 w 4809032"/>
              <a:gd name="connsiteY6" fmla="*/ 2785271 h 2799412"/>
              <a:gd name="connsiteX7" fmla="*/ 0 w 4809032"/>
              <a:gd name="connsiteY7" fmla="*/ 2799412 h 2799412"/>
              <a:gd name="connsiteX0" fmla="*/ 0 w 4809032"/>
              <a:gd name="connsiteY0" fmla="*/ 2806062 h 2806062"/>
              <a:gd name="connsiteX1" fmla="*/ 1 w 4809032"/>
              <a:gd name="connsiteY1" fmla="*/ 1937 h 2806062"/>
              <a:gd name="connsiteX2" fmla="*/ 4756516 w 4809032"/>
              <a:gd name="connsiteY2" fmla="*/ 6650 h 2806062"/>
              <a:gd name="connsiteX3" fmla="*/ 4802682 w 4809032"/>
              <a:gd name="connsiteY3" fmla="*/ 86105 h 2806062"/>
              <a:gd name="connsiteX4" fmla="*/ 4809032 w 4809032"/>
              <a:gd name="connsiteY4" fmla="*/ 1491874 h 2806062"/>
              <a:gd name="connsiteX5" fmla="*/ 4457119 w 4809032"/>
              <a:gd name="connsiteY5" fmla="*/ 1530424 h 2806062"/>
              <a:gd name="connsiteX6" fmla="*/ 4424728 w 4809032"/>
              <a:gd name="connsiteY6" fmla="*/ 2791921 h 2806062"/>
              <a:gd name="connsiteX7" fmla="*/ 0 w 4809032"/>
              <a:gd name="connsiteY7" fmla="*/ 2806062 h 2806062"/>
              <a:gd name="connsiteX0" fmla="*/ 5 w 4809037"/>
              <a:gd name="connsiteY0" fmla="*/ 2806062 h 2806062"/>
              <a:gd name="connsiteX1" fmla="*/ 6 w 4809037"/>
              <a:gd name="connsiteY1" fmla="*/ 1937 h 2806062"/>
              <a:gd name="connsiteX2" fmla="*/ 4756521 w 4809037"/>
              <a:gd name="connsiteY2" fmla="*/ 6650 h 2806062"/>
              <a:gd name="connsiteX3" fmla="*/ 4802687 w 4809037"/>
              <a:gd name="connsiteY3" fmla="*/ 86105 h 2806062"/>
              <a:gd name="connsiteX4" fmla="*/ 4809037 w 4809037"/>
              <a:gd name="connsiteY4" fmla="*/ 1491874 h 2806062"/>
              <a:gd name="connsiteX5" fmla="*/ 4457124 w 4809037"/>
              <a:gd name="connsiteY5" fmla="*/ 1530424 h 2806062"/>
              <a:gd name="connsiteX6" fmla="*/ 4424733 w 4809037"/>
              <a:gd name="connsiteY6" fmla="*/ 2791921 h 2806062"/>
              <a:gd name="connsiteX7" fmla="*/ 5 w 4809037"/>
              <a:gd name="connsiteY7" fmla="*/ 2806062 h 2806062"/>
              <a:gd name="connsiteX0" fmla="*/ 5 w 4809037"/>
              <a:gd name="connsiteY0" fmla="*/ 3042258 h 3042258"/>
              <a:gd name="connsiteX1" fmla="*/ 6 w 4809037"/>
              <a:gd name="connsiteY1" fmla="*/ 238133 h 3042258"/>
              <a:gd name="connsiteX2" fmla="*/ 4802687 w 4809037"/>
              <a:gd name="connsiteY2" fmla="*/ 322301 h 3042258"/>
              <a:gd name="connsiteX3" fmla="*/ 4809037 w 4809037"/>
              <a:gd name="connsiteY3" fmla="*/ 1728070 h 3042258"/>
              <a:gd name="connsiteX4" fmla="*/ 4457124 w 4809037"/>
              <a:gd name="connsiteY4" fmla="*/ 1766620 h 3042258"/>
              <a:gd name="connsiteX5" fmla="*/ 4424733 w 4809037"/>
              <a:gd name="connsiteY5" fmla="*/ 3028117 h 3042258"/>
              <a:gd name="connsiteX6" fmla="*/ 5 w 4809037"/>
              <a:gd name="connsiteY6" fmla="*/ 3042258 h 3042258"/>
              <a:gd name="connsiteX0" fmla="*/ 5 w 4809037"/>
              <a:gd name="connsiteY0" fmla="*/ 3074793 h 3074793"/>
              <a:gd name="connsiteX1" fmla="*/ 6 w 4809037"/>
              <a:gd name="connsiteY1" fmla="*/ 270668 h 3074793"/>
              <a:gd name="connsiteX2" fmla="*/ 4797924 w 4809037"/>
              <a:gd name="connsiteY2" fmla="*/ 265280 h 3074793"/>
              <a:gd name="connsiteX3" fmla="*/ 4809037 w 4809037"/>
              <a:gd name="connsiteY3" fmla="*/ 1760605 h 3074793"/>
              <a:gd name="connsiteX4" fmla="*/ 4457124 w 4809037"/>
              <a:gd name="connsiteY4" fmla="*/ 1799155 h 3074793"/>
              <a:gd name="connsiteX5" fmla="*/ 4424733 w 4809037"/>
              <a:gd name="connsiteY5" fmla="*/ 3060652 h 3074793"/>
              <a:gd name="connsiteX6" fmla="*/ 5 w 4809037"/>
              <a:gd name="connsiteY6" fmla="*/ 3074793 h 3074793"/>
              <a:gd name="connsiteX0" fmla="*/ 5 w 4809037"/>
              <a:gd name="connsiteY0" fmla="*/ 2990782 h 2990782"/>
              <a:gd name="connsiteX1" fmla="*/ 6 w 4809037"/>
              <a:gd name="connsiteY1" fmla="*/ 186657 h 2990782"/>
              <a:gd name="connsiteX2" fmla="*/ 4797924 w 4809037"/>
              <a:gd name="connsiteY2" fmla="*/ 181269 h 2990782"/>
              <a:gd name="connsiteX3" fmla="*/ 4809037 w 4809037"/>
              <a:gd name="connsiteY3" fmla="*/ 1676594 h 2990782"/>
              <a:gd name="connsiteX4" fmla="*/ 4457124 w 4809037"/>
              <a:gd name="connsiteY4" fmla="*/ 1715144 h 2990782"/>
              <a:gd name="connsiteX5" fmla="*/ 4424733 w 4809037"/>
              <a:gd name="connsiteY5" fmla="*/ 2976641 h 2990782"/>
              <a:gd name="connsiteX6" fmla="*/ 5 w 4809037"/>
              <a:gd name="connsiteY6" fmla="*/ 2990782 h 2990782"/>
              <a:gd name="connsiteX0" fmla="*/ 5 w 4809037"/>
              <a:gd name="connsiteY0" fmla="*/ 2821150 h 2821150"/>
              <a:gd name="connsiteX1" fmla="*/ 6 w 4809037"/>
              <a:gd name="connsiteY1" fmla="*/ 17025 h 2821150"/>
              <a:gd name="connsiteX2" fmla="*/ 4797924 w 4809037"/>
              <a:gd name="connsiteY2" fmla="*/ 11637 h 2821150"/>
              <a:gd name="connsiteX3" fmla="*/ 4809037 w 4809037"/>
              <a:gd name="connsiteY3" fmla="*/ 1506962 h 2821150"/>
              <a:gd name="connsiteX4" fmla="*/ 4457124 w 4809037"/>
              <a:gd name="connsiteY4" fmla="*/ 1545512 h 2821150"/>
              <a:gd name="connsiteX5" fmla="*/ 4424733 w 4809037"/>
              <a:gd name="connsiteY5" fmla="*/ 2807009 h 2821150"/>
              <a:gd name="connsiteX6" fmla="*/ 5 w 4809037"/>
              <a:gd name="connsiteY6" fmla="*/ 2821150 h 2821150"/>
              <a:gd name="connsiteX0" fmla="*/ 5 w 4809037"/>
              <a:gd name="connsiteY0" fmla="*/ 2811040 h 2811040"/>
              <a:gd name="connsiteX1" fmla="*/ 6 w 4809037"/>
              <a:gd name="connsiteY1" fmla="*/ 6915 h 2811040"/>
              <a:gd name="connsiteX2" fmla="*/ 4797924 w 4809037"/>
              <a:gd name="connsiteY2" fmla="*/ 1527 h 2811040"/>
              <a:gd name="connsiteX3" fmla="*/ 4809037 w 4809037"/>
              <a:gd name="connsiteY3" fmla="*/ 1496852 h 2811040"/>
              <a:gd name="connsiteX4" fmla="*/ 4457124 w 4809037"/>
              <a:gd name="connsiteY4" fmla="*/ 1535402 h 2811040"/>
              <a:gd name="connsiteX5" fmla="*/ 4424733 w 4809037"/>
              <a:gd name="connsiteY5" fmla="*/ 2796899 h 2811040"/>
              <a:gd name="connsiteX6" fmla="*/ 5 w 4809037"/>
              <a:gd name="connsiteY6" fmla="*/ 2811040 h 2811040"/>
              <a:gd name="connsiteX0" fmla="*/ 5 w 4809037"/>
              <a:gd name="connsiteY0" fmla="*/ 2815715 h 2815715"/>
              <a:gd name="connsiteX1" fmla="*/ 6 w 4809037"/>
              <a:gd name="connsiteY1" fmla="*/ 11590 h 2815715"/>
              <a:gd name="connsiteX2" fmla="*/ 4797924 w 4809037"/>
              <a:gd name="connsiteY2" fmla="*/ 6202 h 2815715"/>
              <a:gd name="connsiteX3" fmla="*/ 4809037 w 4809037"/>
              <a:gd name="connsiteY3" fmla="*/ 1501527 h 2815715"/>
              <a:gd name="connsiteX4" fmla="*/ 4457124 w 4809037"/>
              <a:gd name="connsiteY4" fmla="*/ 1540077 h 2815715"/>
              <a:gd name="connsiteX5" fmla="*/ 4424733 w 4809037"/>
              <a:gd name="connsiteY5" fmla="*/ 2801574 h 2815715"/>
              <a:gd name="connsiteX6" fmla="*/ 5 w 4809037"/>
              <a:gd name="connsiteY6" fmla="*/ 2815715 h 2815715"/>
              <a:gd name="connsiteX0" fmla="*/ 5 w 4809037"/>
              <a:gd name="connsiteY0" fmla="*/ 2820308 h 2820308"/>
              <a:gd name="connsiteX1" fmla="*/ 6 w 4809037"/>
              <a:gd name="connsiteY1" fmla="*/ 16183 h 2820308"/>
              <a:gd name="connsiteX2" fmla="*/ 4797924 w 4809037"/>
              <a:gd name="connsiteY2" fmla="*/ 10795 h 2820308"/>
              <a:gd name="connsiteX3" fmla="*/ 4809037 w 4809037"/>
              <a:gd name="connsiteY3" fmla="*/ 1506120 h 2820308"/>
              <a:gd name="connsiteX4" fmla="*/ 4457124 w 4809037"/>
              <a:gd name="connsiteY4" fmla="*/ 1544670 h 2820308"/>
              <a:gd name="connsiteX5" fmla="*/ 4424733 w 4809037"/>
              <a:gd name="connsiteY5" fmla="*/ 2806167 h 2820308"/>
              <a:gd name="connsiteX6" fmla="*/ 5 w 4809037"/>
              <a:gd name="connsiteY6" fmla="*/ 2820308 h 2820308"/>
              <a:gd name="connsiteX0" fmla="*/ 5 w 4809037"/>
              <a:gd name="connsiteY0" fmla="*/ 2814097 h 2814097"/>
              <a:gd name="connsiteX1" fmla="*/ 6 w 4809037"/>
              <a:gd name="connsiteY1" fmla="*/ 9972 h 2814097"/>
              <a:gd name="connsiteX2" fmla="*/ 4797924 w 4809037"/>
              <a:gd name="connsiteY2" fmla="*/ 4584 h 2814097"/>
              <a:gd name="connsiteX3" fmla="*/ 4809037 w 4809037"/>
              <a:gd name="connsiteY3" fmla="*/ 1499909 h 2814097"/>
              <a:gd name="connsiteX4" fmla="*/ 4457124 w 4809037"/>
              <a:gd name="connsiteY4" fmla="*/ 1538459 h 2814097"/>
              <a:gd name="connsiteX5" fmla="*/ 4424733 w 4809037"/>
              <a:gd name="connsiteY5" fmla="*/ 2799956 h 2814097"/>
              <a:gd name="connsiteX6" fmla="*/ 5 w 4809037"/>
              <a:gd name="connsiteY6" fmla="*/ 2814097 h 2814097"/>
              <a:gd name="connsiteX0" fmla="*/ 5 w 4809037"/>
              <a:gd name="connsiteY0" fmla="*/ 2809513 h 2809513"/>
              <a:gd name="connsiteX1" fmla="*/ 6 w 4809037"/>
              <a:gd name="connsiteY1" fmla="*/ 5388 h 2809513"/>
              <a:gd name="connsiteX2" fmla="*/ 4797924 w 4809037"/>
              <a:gd name="connsiteY2" fmla="*/ 0 h 2809513"/>
              <a:gd name="connsiteX3" fmla="*/ 4809037 w 4809037"/>
              <a:gd name="connsiteY3" fmla="*/ 1495325 h 2809513"/>
              <a:gd name="connsiteX4" fmla="*/ 4457124 w 4809037"/>
              <a:gd name="connsiteY4" fmla="*/ 1533875 h 2809513"/>
              <a:gd name="connsiteX5" fmla="*/ 4424733 w 4809037"/>
              <a:gd name="connsiteY5" fmla="*/ 2795372 h 2809513"/>
              <a:gd name="connsiteX6" fmla="*/ 5 w 4809037"/>
              <a:gd name="connsiteY6" fmla="*/ 2809513 h 2809513"/>
              <a:gd name="connsiteX0" fmla="*/ 5 w 4809037"/>
              <a:gd name="connsiteY0" fmla="*/ 2809513 h 2809513"/>
              <a:gd name="connsiteX1" fmla="*/ 6 w 4809037"/>
              <a:gd name="connsiteY1" fmla="*/ 5388 h 2809513"/>
              <a:gd name="connsiteX2" fmla="*/ 4797924 w 4809037"/>
              <a:gd name="connsiteY2" fmla="*/ 0 h 2809513"/>
              <a:gd name="connsiteX3" fmla="*/ 4809037 w 4809037"/>
              <a:gd name="connsiteY3" fmla="*/ 1495325 h 2809513"/>
              <a:gd name="connsiteX4" fmla="*/ 4457124 w 4809037"/>
              <a:gd name="connsiteY4" fmla="*/ 1533875 h 2809513"/>
              <a:gd name="connsiteX5" fmla="*/ 4424733 w 4809037"/>
              <a:gd name="connsiteY5" fmla="*/ 2795372 h 2809513"/>
              <a:gd name="connsiteX6" fmla="*/ 5 w 4809037"/>
              <a:gd name="connsiteY6" fmla="*/ 2809513 h 2809513"/>
              <a:gd name="connsiteX0" fmla="*/ 5 w 4809037"/>
              <a:gd name="connsiteY0" fmla="*/ 2809513 h 2809513"/>
              <a:gd name="connsiteX1" fmla="*/ 6 w 4809037"/>
              <a:gd name="connsiteY1" fmla="*/ 5388 h 2809513"/>
              <a:gd name="connsiteX2" fmla="*/ 4797924 w 4809037"/>
              <a:gd name="connsiteY2" fmla="*/ 0 h 2809513"/>
              <a:gd name="connsiteX3" fmla="*/ 4809037 w 4809037"/>
              <a:gd name="connsiteY3" fmla="*/ 1495325 h 2809513"/>
              <a:gd name="connsiteX4" fmla="*/ 4578097 w 4809037"/>
              <a:gd name="connsiteY4" fmla="*/ 1518550 h 2809513"/>
              <a:gd name="connsiteX5" fmla="*/ 4457124 w 4809037"/>
              <a:gd name="connsiteY5" fmla="*/ 1533875 h 2809513"/>
              <a:gd name="connsiteX6" fmla="*/ 4424733 w 4809037"/>
              <a:gd name="connsiteY6" fmla="*/ 2795372 h 2809513"/>
              <a:gd name="connsiteX7" fmla="*/ 5 w 4809037"/>
              <a:gd name="connsiteY7" fmla="*/ 2809513 h 2809513"/>
              <a:gd name="connsiteX0" fmla="*/ 5 w 4809037"/>
              <a:gd name="connsiteY0" fmla="*/ 2809513 h 2809513"/>
              <a:gd name="connsiteX1" fmla="*/ 6 w 4809037"/>
              <a:gd name="connsiteY1" fmla="*/ 5388 h 2809513"/>
              <a:gd name="connsiteX2" fmla="*/ 4797924 w 4809037"/>
              <a:gd name="connsiteY2" fmla="*/ 0 h 2809513"/>
              <a:gd name="connsiteX3" fmla="*/ 4809037 w 4809037"/>
              <a:gd name="connsiteY3" fmla="*/ 1495325 h 2809513"/>
              <a:gd name="connsiteX4" fmla="*/ 4578097 w 4809037"/>
              <a:gd name="connsiteY4" fmla="*/ 1518550 h 2809513"/>
              <a:gd name="connsiteX5" fmla="*/ 4457124 w 4809037"/>
              <a:gd name="connsiteY5" fmla="*/ 1576296 h 2809513"/>
              <a:gd name="connsiteX6" fmla="*/ 4424733 w 4809037"/>
              <a:gd name="connsiteY6" fmla="*/ 2795372 h 2809513"/>
              <a:gd name="connsiteX7" fmla="*/ 5 w 4809037"/>
              <a:gd name="connsiteY7" fmla="*/ 2809513 h 2809513"/>
              <a:gd name="connsiteX0" fmla="*/ 5 w 4809037"/>
              <a:gd name="connsiteY0" fmla="*/ 2809513 h 2809513"/>
              <a:gd name="connsiteX1" fmla="*/ 6 w 4809037"/>
              <a:gd name="connsiteY1" fmla="*/ 5388 h 2809513"/>
              <a:gd name="connsiteX2" fmla="*/ 4797924 w 4809037"/>
              <a:gd name="connsiteY2" fmla="*/ 0 h 2809513"/>
              <a:gd name="connsiteX3" fmla="*/ 4809037 w 4809037"/>
              <a:gd name="connsiteY3" fmla="*/ 1495325 h 2809513"/>
              <a:gd name="connsiteX4" fmla="*/ 4457124 w 4809037"/>
              <a:gd name="connsiteY4" fmla="*/ 1576296 h 2809513"/>
              <a:gd name="connsiteX5" fmla="*/ 4424733 w 4809037"/>
              <a:gd name="connsiteY5" fmla="*/ 2795372 h 2809513"/>
              <a:gd name="connsiteX6" fmla="*/ 5 w 4809037"/>
              <a:gd name="connsiteY6" fmla="*/ 2809513 h 2809513"/>
              <a:gd name="connsiteX0" fmla="*/ 5 w 4809037"/>
              <a:gd name="connsiteY0" fmla="*/ 2809513 h 2809513"/>
              <a:gd name="connsiteX1" fmla="*/ 6 w 4809037"/>
              <a:gd name="connsiteY1" fmla="*/ 5388 h 2809513"/>
              <a:gd name="connsiteX2" fmla="*/ 4797924 w 4809037"/>
              <a:gd name="connsiteY2" fmla="*/ 0 h 2809513"/>
              <a:gd name="connsiteX3" fmla="*/ 4809037 w 4809037"/>
              <a:gd name="connsiteY3" fmla="*/ 1495325 h 2809513"/>
              <a:gd name="connsiteX4" fmla="*/ 4457124 w 4809037"/>
              <a:gd name="connsiteY4" fmla="*/ 1576296 h 2809513"/>
              <a:gd name="connsiteX5" fmla="*/ 4424733 w 4809037"/>
              <a:gd name="connsiteY5" fmla="*/ 2795372 h 2809513"/>
              <a:gd name="connsiteX6" fmla="*/ 5 w 4809037"/>
              <a:gd name="connsiteY6" fmla="*/ 2809513 h 2809513"/>
              <a:gd name="connsiteX0" fmla="*/ 5 w 4809037"/>
              <a:gd name="connsiteY0" fmla="*/ 2809513 h 2809513"/>
              <a:gd name="connsiteX1" fmla="*/ 6 w 4809037"/>
              <a:gd name="connsiteY1" fmla="*/ 5388 h 2809513"/>
              <a:gd name="connsiteX2" fmla="*/ 4797924 w 4809037"/>
              <a:gd name="connsiteY2" fmla="*/ 0 h 2809513"/>
              <a:gd name="connsiteX3" fmla="*/ 4809037 w 4809037"/>
              <a:gd name="connsiteY3" fmla="*/ 1495325 h 2809513"/>
              <a:gd name="connsiteX4" fmla="*/ 4457124 w 4809037"/>
              <a:gd name="connsiteY4" fmla="*/ 1576296 h 2809513"/>
              <a:gd name="connsiteX5" fmla="*/ 4424733 w 4809037"/>
              <a:gd name="connsiteY5" fmla="*/ 2795372 h 2809513"/>
              <a:gd name="connsiteX6" fmla="*/ 5 w 4809037"/>
              <a:gd name="connsiteY6" fmla="*/ 2809513 h 2809513"/>
              <a:gd name="connsiteX0" fmla="*/ 5 w 4809037"/>
              <a:gd name="connsiteY0" fmla="*/ 2809513 h 2809513"/>
              <a:gd name="connsiteX1" fmla="*/ 6 w 4809037"/>
              <a:gd name="connsiteY1" fmla="*/ 5388 h 2809513"/>
              <a:gd name="connsiteX2" fmla="*/ 4797924 w 4809037"/>
              <a:gd name="connsiteY2" fmla="*/ 0 h 2809513"/>
              <a:gd name="connsiteX3" fmla="*/ 4809037 w 4809037"/>
              <a:gd name="connsiteY3" fmla="*/ 1495325 h 2809513"/>
              <a:gd name="connsiteX4" fmla="*/ 4457124 w 4809037"/>
              <a:gd name="connsiteY4" fmla="*/ 1581010 h 2809513"/>
              <a:gd name="connsiteX5" fmla="*/ 4424733 w 4809037"/>
              <a:gd name="connsiteY5" fmla="*/ 2795372 h 2809513"/>
              <a:gd name="connsiteX6" fmla="*/ 5 w 4809037"/>
              <a:gd name="connsiteY6" fmla="*/ 2809513 h 2809513"/>
              <a:gd name="connsiteX0" fmla="*/ 5 w 4809037"/>
              <a:gd name="connsiteY0" fmla="*/ 2809513 h 2809513"/>
              <a:gd name="connsiteX1" fmla="*/ 6 w 4809037"/>
              <a:gd name="connsiteY1" fmla="*/ 5388 h 2809513"/>
              <a:gd name="connsiteX2" fmla="*/ 4797924 w 4809037"/>
              <a:gd name="connsiteY2" fmla="*/ 0 h 2809513"/>
              <a:gd name="connsiteX3" fmla="*/ 4809037 w 4809037"/>
              <a:gd name="connsiteY3" fmla="*/ 1495325 h 2809513"/>
              <a:gd name="connsiteX4" fmla="*/ 4457124 w 4809037"/>
              <a:gd name="connsiteY4" fmla="*/ 1581010 h 2809513"/>
              <a:gd name="connsiteX5" fmla="*/ 4424733 w 4809037"/>
              <a:gd name="connsiteY5" fmla="*/ 2795372 h 2809513"/>
              <a:gd name="connsiteX6" fmla="*/ 5 w 4809037"/>
              <a:gd name="connsiteY6" fmla="*/ 2809513 h 2809513"/>
              <a:gd name="connsiteX0" fmla="*/ 5 w 4809037"/>
              <a:gd name="connsiteY0" fmla="*/ 2809513 h 2809513"/>
              <a:gd name="connsiteX1" fmla="*/ 6 w 4809037"/>
              <a:gd name="connsiteY1" fmla="*/ 5388 h 2809513"/>
              <a:gd name="connsiteX2" fmla="*/ 4797924 w 4809037"/>
              <a:gd name="connsiteY2" fmla="*/ 0 h 2809513"/>
              <a:gd name="connsiteX3" fmla="*/ 4809037 w 4809037"/>
              <a:gd name="connsiteY3" fmla="*/ 1495325 h 2809513"/>
              <a:gd name="connsiteX4" fmla="*/ 4442837 w 4809037"/>
              <a:gd name="connsiteY4" fmla="*/ 1573939 h 2809513"/>
              <a:gd name="connsiteX5" fmla="*/ 4424733 w 4809037"/>
              <a:gd name="connsiteY5" fmla="*/ 2795372 h 2809513"/>
              <a:gd name="connsiteX6" fmla="*/ 5 w 4809037"/>
              <a:gd name="connsiteY6" fmla="*/ 2809513 h 2809513"/>
              <a:gd name="connsiteX0" fmla="*/ 5 w 4809037"/>
              <a:gd name="connsiteY0" fmla="*/ 2809513 h 2809513"/>
              <a:gd name="connsiteX1" fmla="*/ 6 w 4809037"/>
              <a:gd name="connsiteY1" fmla="*/ 5388 h 2809513"/>
              <a:gd name="connsiteX2" fmla="*/ 4797924 w 4809037"/>
              <a:gd name="connsiteY2" fmla="*/ 0 h 2809513"/>
              <a:gd name="connsiteX3" fmla="*/ 4809037 w 4809037"/>
              <a:gd name="connsiteY3" fmla="*/ 1495325 h 2809513"/>
              <a:gd name="connsiteX4" fmla="*/ 4442837 w 4809037"/>
              <a:gd name="connsiteY4" fmla="*/ 1573939 h 2809513"/>
              <a:gd name="connsiteX5" fmla="*/ 4424733 w 4809037"/>
              <a:gd name="connsiteY5" fmla="*/ 2795372 h 2809513"/>
              <a:gd name="connsiteX6" fmla="*/ 5 w 4809037"/>
              <a:gd name="connsiteY6" fmla="*/ 2809513 h 2809513"/>
              <a:gd name="connsiteX0" fmla="*/ 5 w 4809037"/>
              <a:gd name="connsiteY0" fmla="*/ 2809513 h 2809513"/>
              <a:gd name="connsiteX1" fmla="*/ 6 w 4809037"/>
              <a:gd name="connsiteY1" fmla="*/ 5388 h 2809513"/>
              <a:gd name="connsiteX2" fmla="*/ 4797924 w 4809037"/>
              <a:gd name="connsiteY2" fmla="*/ 0 h 2809513"/>
              <a:gd name="connsiteX3" fmla="*/ 4809037 w 4809037"/>
              <a:gd name="connsiteY3" fmla="*/ 1495325 h 2809513"/>
              <a:gd name="connsiteX4" fmla="*/ 4395212 w 4809037"/>
              <a:gd name="connsiteY4" fmla="*/ 1524448 h 2809513"/>
              <a:gd name="connsiteX5" fmla="*/ 4424733 w 4809037"/>
              <a:gd name="connsiteY5" fmla="*/ 2795372 h 2809513"/>
              <a:gd name="connsiteX6" fmla="*/ 5 w 4809037"/>
              <a:gd name="connsiteY6" fmla="*/ 2809513 h 2809513"/>
              <a:gd name="connsiteX0" fmla="*/ 5 w 4809037"/>
              <a:gd name="connsiteY0" fmla="*/ 2809513 h 2809513"/>
              <a:gd name="connsiteX1" fmla="*/ 6 w 4809037"/>
              <a:gd name="connsiteY1" fmla="*/ 5388 h 2809513"/>
              <a:gd name="connsiteX2" fmla="*/ 4797924 w 4809037"/>
              <a:gd name="connsiteY2" fmla="*/ 0 h 2809513"/>
              <a:gd name="connsiteX3" fmla="*/ 4809037 w 4809037"/>
              <a:gd name="connsiteY3" fmla="*/ 1469401 h 2809513"/>
              <a:gd name="connsiteX4" fmla="*/ 4395212 w 4809037"/>
              <a:gd name="connsiteY4" fmla="*/ 1524448 h 2809513"/>
              <a:gd name="connsiteX5" fmla="*/ 4424733 w 4809037"/>
              <a:gd name="connsiteY5" fmla="*/ 2795372 h 2809513"/>
              <a:gd name="connsiteX6" fmla="*/ 5 w 4809037"/>
              <a:gd name="connsiteY6" fmla="*/ 2809513 h 2809513"/>
              <a:gd name="connsiteX0" fmla="*/ 5 w 4804275"/>
              <a:gd name="connsiteY0" fmla="*/ 2809513 h 2809513"/>
              <a:gd name="connsiteX1" fmla="*/ 6 w 4804275"/>
              <a:gd name="connsiteY1" fmla="*/ 5388 h 2809513"/>
              <a:gd name="connsiteX2" fmla="*/ 4797924 w 4804275"/>
              <a:gd name="connsiteY2" fmla="*/ 0 h 2809513"/>
              <a:gd name="connsiteX3" fmla="*/ 4804275 w 4804275"/>
              <a:gd name="connsiteY3" fmla="*/ 1492968 h 2809513"/>
              <a:gd name="connsiteX4" fmla="*/ 4395212 w 4804275"/>
              <a:gd name="connsiteY4" fmla="*/ 1524448 h 2809513"/>
              <a:gd name="connsiteX5" fmla="*/ 4424733 w 4804275"/>
              <a:gd name="connsiteY5" fmla="*/ 2795372 h 2809513"/>
              <a:gd name="connsiteX6" fmla="*/ 5 w 4804275"/>
              <a:gd name="connsiteY6" fmla="*/ 2809513 h 2809513"/>
              <a:gd name="connsiteX0" fmla="*/ 5 w 4804275"/>
              <a:gd name="connsiteY0" fmla="*/ 2809513 h 2809513"/>
              <a:gd name="connsiteX1" fmla="*/ 6 w 4804275"/>
              <a:gd name="connsiteY1" fmla="*/ 5388 h 2809513"/>
              <a:gd name="connsiteX2" fmla="*/ 4797924 w 4804275"/>
              <a:gd name="connsiteY2" fmla="*/ 0 h 2809513"/>
              <a:gd name="connsiteX3" fmla="*/ 4804275 w 4804275"/>
              <a:gd name="connsiteY3" fmla="*/ 1490611 h 2809513"/>
              <a:gd name="connsiteX4" fmla="*/ 4395212 w 4804275"/>
              <a:gd name="connsiteY4" fmla="*/ 1524448 h 2809513"/>
              <a:gd name="connsiteX5" fmla="*/ 4424733 w 4804275"/>
              <a:gd name="connsiteY5" fmla="*/ 2795372 h 2809513"/>
              <a:gd name="connsiteX6" fmla="*/ 5 w 4804275"/>
              <a:gd name="connsiteY6" fmla="*/ 2809513 h 2809513"/>
              <a:gd name="connsiteX0" fmla="*/ 5 w 4804275"/>
              <a:gd name="connsiteY0" fmla="*/ 2809513 h 2809513"/>
              <a:gd name="connsiteX1" fmla="*/ 6 w 4804275"/>
              <a:gd name="connsiteY1" fmla="*/ 5388 h 2809513"/>
              <a:gd name="connsiteX2" fmla="*/ 4797924 w 4804275"/>
              <a:gd name="connsiteY2" fmla="*/ 0 h 2809513"/>
              <a:gd name="connsiteX3" fmla="*/ 4804275 w 4804275"/>
              <a:gd name="connsiteY3" fmla="*/ 1490611 h 2809513"/>
              <a:gd name="connsiteX4" fmla="*/ 4395212 w 4804275"/>
              <a:gd name="connsiteY4" fmla="*/ 1524448 h 2809513"/>
              <a:gd name="connsiteX5" fmla="*/ 4424733 w 4804275"/>
              <a:gd name="connsiteY5" fmla="*/ 2795372 h 2809513"/>
              <a:gd name="connsiteX6" fmla="*/ 5 w 4804275"/>
              <a:gd name="connsiteY6" fmla="*/ 2809513 h 2809513"/>
              <a:gd name="connsiteX0" fmla="*/ 5 w 4804275"/>
              <a:gd name="connsiteY0" fmla="*/ 2809513 h 2809513"/>
              <a:gd name="connsiteX1" fmla="*/ 6 w 4804275"/>
              <a:gd name="connsiteY1" fmla="*/ 5388 h 2809513"/>
              <a:gd name="connsiteX2" fmla="*/ 4797924 w 4804275"/>
              <a:gd name="connsiteY2" fmla="*/ 0 h 2809513"/>
              <a:gd name="connsiteX3" fmla="*/ 4804275 w 4804275"/>
              <a:gd name="connsiteY3" fmla="*/ 1490611 h 2809513"/>
              <a:gd name="connsiteX4" fmla="*/ 4395212 w 4804275"/>
              <a:gd name="connsiteY4" fmla="*/ 1524448 h 2809513"/>
              <a:gd name="connsiteX5" fmla="*/ 4424733 w 4804275"/>
              <a:gd name="connsiteY5" fmla="*/ 2795372 h 2809513"/>
              <a:gd name="connsiteX6" fmla="*/ 5 w 4804275"/>
              <a:gd name="connsiteY6" fmla="*/ 2809513 h 2809513"/>
              <a:gd name="connsiteX0" fmla="*/ 5 w 4804275"/>
              <a:gd name="connsiteY0" fmla="*/ 2809513 h 2809513"/>
              <a:gd name="connsiteX1" fmla="*/ 6 w 4804275"/>
              <a:gd name="connsiteY1" fmla="*/ 5388 h 2809513"/>
              <a:gd name="connsiteX2" fmla="*/ 4797924 w 4804275"/>
              <a:gd name="connsiteY2" fmla="*/ 0 h 2809513"/>
              <a:gd name="connsiteX3" fmla="*/ 4804275 w 4804275"/>
              <a:gd name="connsiteY3" fmla="*/ 1490611 h 2809513"/>
              <a:gd name="connsiteX4" fmla="*/ 4442837 w 4804275"/>
              <a:gd name="connsiteY4" fmla="*/ 1533876 h 2809513"/>
              <a:gd name="connsiteX5" fmla="*/ 4424733 w 4804275"/>
              <a:gd name="connsiteY5" fmla="*/ 2795372 h 2809513"/>
              <a:gd name="connsiteX6" fmla="*/ 5 w 4804275"/>
              <a:gd name="connsiteY6" fmla="*/ 2809513 h 2809513"/>
              <a:gd name="connsiteX0" fmla="*/ 5 w 4804275"/>
              <a:gd name="connsiteY0" fmla="*/ 2809513 h 2809513"/>
              <a:gd name="connsiteX1" fmla="*/ 6 w 4804275"/>
              <a:gd name="connsiteY1" fmla="*/ 5388 h 2809513"/>
              <a:gd name="connsiteX2" fmla="*/ 4797924 w 4804275"/>
              <a:gd name="connsiteY2" fmla="*/ 0 h 2809513"/>
              <a:gd name="connsiteX3" fmla="*/ 4804275 w 4804275"/>
              <a:gd name="connsiteY3" fmla="*/ 1490611 h 2809513"/>
              <a:gd name="connsiteX4" fmla="*/ 4442837 w 4804275"/>
              <a:gd name="connsiteY4" fmla="*/ 1533876 h 2809513"/>
              <a:gd name="connsiteX5" fmla="*/ 4424733 w 4804275"/>
              <a:gd name="connsiteY5" fmla="*/ 2795372 h 2809513"/>
              <a:gd name="connsiteX6" fmla="*/ 5 w 4804275"/>
              <a:gd name="connsiteY6" fmla="*/ 2809513 h 2809513"/>
              <a:gd name="connsiteX0" fmla="*/ 5 w 4804275"/>
              <a:gd name="connsiteY0" fmla="*/ 2809513 h 2809513"/>
              <a:gd name="connsiteX1" fmla="*/ 6 w 4804275"/>
              <a:gd name="connsiteY1" fmla="*/ 5388 h 2809513"/>
              <a:gd name="connsiteX2" fmla="*/ 4797924 w 4804275"/>
              <a:gd name="connsiteY2" fmla="*/ 0 h 2809513"/>
              <a:gd name="connsiteX3" fmla="*/ 4804275 w 4804275"/>
              <a:gd name="connsiteY3" fmla="*/ 1490611 h 2809513"/>
              <a:gd name="connsiteX4" fmla="*/ 4442837 w 4804275"/>
              <a:gd name="connsiteY4" fmla="*/ 1533876 h 2809513"/>
              <a:gd name="connsiteX5" fmla="*/ 4424733 w 4804275"/>
              <a:gd name="connsiteY5" fmla="*/ 2795372 h 2809513"/>
              <a:gd name="connsiteX6" fmla="*/ 5 w 4804275"/>
              <a:gd name="connsiteY6" fmla="*/ 2809513 h 2809513"/>
              <a:gd name="connsiteX0" fmla="*/ 5 w 4804275"/>
              <a:gd name="connsiteY0" fmla="*/ 2809513 h 2809513"/>
              <a:gd name="connsiteX1" fmla="*/ 6 w 4804275"/>
              <a:gd name="connsiteY1" fmla="*/ 5388 h 2809513"/>
              <a:gd name="connsiteX2" fmla="*/ 4797924 w 4804275"/>
              <a:gd name="connsiteY2" fmla="*/ 0 h 2809513"/>
              <a:gd name="connsiteX3" fmla="*/ 4804275 w 4804275"/>
              <a:gd name="connsiteY3" fmla="*/ 1490611 h 2809513"/>
              <a:gd name="connsiteX4" fmla="*/ 4442837 w 4804275"/>
              <a:gd name="connsiteY4" fmla="*/ 1533876 h 2809513"/>
              <a:gd name="connsiteX5" fmla="*/ 4424733 w 4804275"/>
              <a:gd name="connsiteY5" fmla="*/ 2795372 h 2809513"/>
              <a:gd name="connsiteX6" fmla="*/ 5 w 4804275"/>
              <a:gd name="connsiteY6" fmla="*/ 2809513 h 2809513"/>
              <a:gd name="connsiteX0" fmla="*/ 5 w 4804275"/>
              <a:gd name="connsiteY0" fmla="*/ 2809513 h 2809513"/>
              <a:gd name="connsiteX1" fmla="*/ 6 w 4804275"/>
              <a:gd name="connsiteY1" fmla="*/ 5388 h 2809513"/>
              <a:gd name="connsiteX2" fmla="*/ 4797924 w 4804275"/>
              <a:gd name="connsiteY2" fmla="*/ 0 h 2809513"/>
              <a:gd name="connsiteX3" fmla="*/ 4804275 w 4804275"/>
              <a:gd name="connsiteY3" fmla="*/ 1490611 h 2809513"/>
              <a:gd name="connsiteX4" fmla="*/ 4435694 w 4804275"/>
              <a:gd name="connsiteY4" fmla="*/ 1531518 h 2809513"/>
              <a:gd name="connsiteX5" fmla="*/ 4424733 w 4804275"/>
              <a:gd name="connsiteY5" fmla="*/ 2795372 h 2809513"/>
              <a:gd name="connsiteX6" fmla="*/ 5 w 4804275"/>
              <a:gd name="connsiteY6" fmla="*/ 2809513 h 2809513"/>
              <a:gd name="connsiteX0" fmla="*/ 5 w 4804275"/>
              <a:gd name="connsiteY0" fmla="*/ 2809513 h 2809513"/>
              <a:gd name="connsiteX1" fmla="*/ 6 w 4804275"/>
              <a:gd name="connsiteY1" fmla="*/ 5388 h 2809513"/>
              <a:gd name="connsiteX2" fmla="*/ 4797924 w 4804275"/>
              <a:gd name="connsiteY2" fmla="*/ 0 h 2809513"/>
              <a:gd name="connsiteX3" fmla="*/ 4804275 w 4804275"/>
              <a:gd name="connsiteY3" fmla="*/ 1490611 h 2809513"/>
              <a:gd name="connsiteX4" fmla="*/ 4438075 w 4804275"/>
              <a:gd name="connsiteY4" fmla="*/ 1545659 h 2809513"/>
              <a:gd name="connsiteX5" fmla="*/ 4424733 w 4804275"/>
              <a:gd name="connsiteY5" fmla="*/ 2795372 h 2809513"/>
              <a:gd name="connsiteX6" fmla="*/ 5 w 4804275"/>
              <a:gd name="connsiteY6" fmla="*/ 2809513 h 2809513"/>
              <a:gd name="connsiteX0" fmla="*/ 5 w 4804275"/>
              <a:gd name="connsiteY0" fmla="*/ 2809513 h 2809513"/>
              <a:gd name="connsiteX1" fmla="*/ 6 w 4804275"/>
              <a:gd name="connsiteY1" fmla="*/ 5388 h 2809513"/>
              <a:gd name="connsiteX2" fmla="*/ 4797924 w 4804275"/>
              <a:gd name="connsiteY2" fmla="*/ 0 h 2809513"/>
              <a:gd name="connsiteX3" fmla="*/ 4804275 w 4804275"/>
              <a:gd name="connsiteY3" fmla="*/ 1490611 h 2809513"/>
              <a:gd name="connsiteX4" fmla="*/ 4438075 w 4804275"/>
              <a:gd name="connsiteY4" fmla="*/ 1545659 h 2809513"/>
              <a:gd name="connsiteX5" fmla="*/ 4424733 w 4804275"/>
              <a:gd name="connsiteY5" fmla="*/ 2795372 h 2809513"/>
              <a:gd name="connsiteX6" fmla="*/ 5 w 4804275"/>
              <a:gd name="connsiteY6" fmla="*/ 2809513 h 2809513"/>
              <a:gd name="connsiteX0" fmla="*/ 5 w 4804275"/>
              <a:gd name="connsiteY0" fmla="*/ 2809513 h 2809513"/>
              <a:gd name="connsiteX1" fmla="*/ 6 w 4804275"/>
              <a:gd name="connsiteY1" fmla="*/ 5388 h 2809513"/>
              <a:gd name="connsiteX2" fmla="*/ 4797924 w 4804275"/>
              <a:gd name="connsiteY2" fmla="*/ 0 h 2809513"/>
              <a:gd name="connsiteX3" fmla="*/ 4804275 w 4804275"/>
              <a:gd name="connsiteY3" fmla="*/ 1490611 h 2809513"/>
              <a:gd name="connsiteX4" fmla="*/ 4438075 w 4804275"/>
              <a:gd name="connsiteY4" fmla="*/ 1545659 h 2809513"/>
              <a:gd name="connsiteX5" fmla="*/ 4424733 w 4804275"/>
              <a:gd name="connsiteY5" fmla="*/ 2795372 h 2809513"/>
              <a:gd name="connsiteX6" fmla="*/ 5 w 4804275"/>
              <a:gd name="connsiteY6" fmla="*/ 2809513 h 2809513"/>
              <a:gd name="connsiteX0" fmla="*/ 5 w 4809037"/>
              <a:gd name="connsiteY0" fmla="*/ 2809513 h 2809513"/>
              <a:gd name="connsiteX1" fmla="*/ 6 w 4809037"/>
              <a:gd name="connsiteY1" fmla="*/ 5388 h 2809513"/>
              <a:gd name="connsiteX2" fmla="*/ 4797924 w 4809037"/>
              <a:gd name="connsiteY2" fmla="*/ 0 h 2809513"/>
              <a:gd name="connsiteX3" fmla="*/ 4809037 w 4809037"/>
              <a:gd name="connsiteY3" fmla="*/ 1492968 h 2809513"/>
              <a:gd name="connsiteX4" fmla="*/ 4438075 w 4809037"/>
              <a:gd name="connsiteY4" fmla="*/ 1545659 h 2809513"/>
              <a:gd name="connsiteX5" fmla="*/ 4424733 w 4809037"/>
              <a:gd name="connsiteY5" fmla="*/ 2795372 h 2809513"/>
              <a:gd name="connsiteX6" fmla="*/ 5 w 4809037"/>
              <a:gd name="connsiteY6" fmla="*/ 2809513 h 2809513"/>
              <a:gd name="connsiteX0" fmla="*/ 5 w 4809037"/>
              <a:gd name="connsiteY0" fmla="*/ 2809513 h 2809513"/>
              <a:gd name="connsiteX1" fmla="*/ 6 w 4809037"/>
              <a:gd name="connsiteY1" fmla="*/ 5388 h 2809513"/>
              <a:gd name="connsiteX2" fmla="*/ 4797924 w 4809037"/>
              <a:gd name="connsiteY2" fmla="*/ 0 h 2809513"/>
              <a:gd name="connsiteX3" fmla="*/ 4809037 w 4809037"/>
              <a:gd name="connsiteY3" fmla="*/ 1492968 h 2809513"/>
              <a:gd name="connsiteX4" fmla="*/ 4433312 w 4809037"/>
              <a:gd name="connsiteY4" fmla="*/ 1548016 h 2809513"/>
              <a:gd name="connsiteX5" fmla="*/ 4424733 w 4809037"/>
              <a:gd name="connsiteY5" fmla="*/ 2795372 h 2809513"/>
              <a:gd name="connsiteX6" fmla="*/ 5 w 4809037"/>
              <a:gd name="connsiteY6" fmla="*/ 2809513 h 2809513"/>
              <a:gd name="connsiteX0" fmla="*/ 5 w 4809037"/>
              <a:gd name="connsiteY0" fmla="*/ 2809513 h 2809513"/>
              <a:gd name="connsiteX1" fmla="*/ 6 w 4809037"/>
              <a:gd name="connsiteY1" fmla="*/ 5388 h 2809513"/>
              <a:gd name="connsiteX2" fmla="*/ 4797924 w 4809037"/>
              <a:gd name="connsiteY2" fmla="*/ 0 h 2809513"/>
              <a:gd name="connsiteX3" fmla="*/ 4809037 w 4809037"/>
              <a:gd name="connsiteY3" fmla="*/ 1492968 h 2809513"/>
              <a:gd name="connsiteX4" fmla="*/ 4433312 w 4809037"/>
              <a:gd name="connsiteY4" fmla="*/ 1548016 h 2809513"/>
              <a:gd name="connsiteX5" fmla="*/ 4424733 w 4809037"/>
              <a:gd name="connsiteY5" fmla="*/ 2795372 h 2809513"/>
              <a:gd name="connsiteX6" fmla="*/ 5 w 4809037"/>
              <a:gd name="connsiteY6" fmla="*/ 2809513 h 2809513"/>
              <a:gd name="connsiteX0" fmla="*/ 5 w 4802909"/>
              <a:gd name="connsiteY0" fmla="*/ 2809513 h 2809513"/>
              <a:gd name="connsiteX1" fmla="*/ 6 w 4802909"/>
              <a:gd name="connsiteY1" fmla="*/ 5388 h 2809513"/>
              <a:gd name="connsiteX2" fmla="*/ 4797924 w 4802909"/>
              <a:gd name="connsiteY2" fmla="*/ 0 h 2809513"/>
              <a:gd name="connsiteX3" fmla="*/ 4802909 w 4802909"/>
              <a:gd name="connsiteY3" fmla="*/ 1487296 h 2809513"/>
              <a:gd name="connsiteX4" fmla="*/ 4433312 w 4802909"/>
              <a:gd name="connsiteY4" fmla="*/ 1548016 h 2809513"/>
              <a:gd name="connsiteX5" fmla="*/ 4424733 w 4802909"/>
              <a:gd name="connsiteY5" fmla="*/ 2795372 h 2809513"/>
              <a:gd name="connsiteX6" fmla="*/ 5 w 4802909"/>
              <a:gd name="connsiteY6" fmla="*/ 2809513 h 2809513"/>
              <a:gd name="connsiteX0" fmla="*/ 5 w 4802909"/>
              <a:gd name="connsiteY0" fmla="*/ 2809513 h 2809513"/>
              <a:gd name="connsiteX1" fmla="*/ 6 w 4802909"/>
              <a:gd name="connsiteY1" fmla="*/ 5388 h 2809513"/>
              <a:gd name="connsiteX2" fmla="*/ 4797924 w 4802909"/>
              <a:gd name="connsiteY2" fmla="*/ 0 h 2809513"/>
              <a:gd name="connsiteX3" fmla="*/ 4802909 w 4802909"/>
              <a:gd name="connsiteY3" fmla="*/ 1487296 h 2809513"/>
              <a:gd name="connsiteX4" fmla="*/ 4433312 w 4802909"/>
              <a:gd name="connsiteY4" fmla="*/ 1548016 h 2809513"/>
              <a:gd name="connsiteX5" fmla="*/ 4443118 w 4802909"/>
              <a:gd name="connsiteY5" fmla="*/ 2761337 h 2809513"/>
              <a:gd name="connsiteX6" fmla="*/ 5 w 4802909"/>
              <a:gd name="connsiteY6" fmla="*/ 2809513 h 2809513"/>
              <a:gd name="connsiteX0" fmla="*/ 5 w 4802909"/>
              <a:gd name="connsiteY0" fmla="*/ 2809513 h 2809513"/>
              <a:gd name="connsiteX1" fmla="*/ 6 w 4802909"/>
              <a:gd name="connsiteY1" fmla="*/ 5388 h 2809513"/>
              <a:gd name="connsiteX2" fmla="*/ 4797924 w 4802909"/>
              <a:gd name="connsiteY2" fmla="*/ 0 h 2809513"/>
              <a:gd name="connsiteX3" fmla="*/ 4802909 w 4802909"/>
              <a:gd name="connsiteY3" fmla="*/ 1487296 h 2809513"/>
              <a:gd name="connsiteX4" fmla="*/ 4433312 w 4802909"/>
              <a:gd name="connsiteY4" fmla="*/ 1548016 h 2809513"/>
              <a:gd name="connsiteX5" fmla="*/ 4443118 w 4802909"/>
              <a:gd name="connsiteY5" fmla="*/ 2744320 h 2809513"/>
              <a:gd name="connsiteX6" fmla="*/ 5 w 4802909"/>
              <a:gd name="connsiteY6" fmla="*/ 2809513 h 2809513"/>
              <a:gd name="connsiteX0" fmla="*/ 5 w 4802909"/>
              <a:gd name="connsiteY0" fmla="*/ 2809513 h 2809513"/>
              <a:gd name="connsiteX1" fmla="*/ 6 w 4802909"/>
              <a:gd name="connsiteY1" fmla="*/ 5388 h 2809513"/>
              <a:gd name="connsiteX2" fmla="*/ 4797924 w 4802909"/>
              <a:gd name="connsiteY2" fmla="*/ 0 h 2809513"/>
              <a:gd name="connsiteX3" fmla="*/ 4802909 w 4802909"/>
              <a:gd name="connsiteY3" fmla="*/ 1487296 h 2809513"/>
              <a:gd name="connsiteX4" fmla="*/ 4433312 w 4802909"/>
              <a:gd name="connsiteY4" fmla="*/ 1548016 h 2809513"/>
              <a:gd name="connsiteX5" fmla="*/ 4443118 w 4802909"/>
              <a:gd name="connsiteY5" fmla="*/ 2698940 h 2809513"/>
              <a:gd name="connsiteX6" fmla="*/ 5 w 4802909"/>
              <a:gd name="connsiteY6" fmla="*/ 2809513 h 2809513"/>
              <a:gd name="connsiteX0" fmla="*/ 0 w 4821290"/>
              <a:gd name="connsiteY0" fmla="*/ 2696064 h 2698940"/>
              <a:gd name="connsiteX1" fmla="*/ 18387 w 4821290"/>
              <a:gd name="connsiteY1" fmla="*/ 5388 h 2698940"/>
              <a:gd name="connsiteX2" fmla="*/ 4816305 w 4821290"/>
              <a:gd name="connsiteY2" fmla="*/ 0 h 2698940"/>
              <a:gd name="connsiteX3" fmla="*/ 4821290 w 4821290"/>
              <a:gd name="connsiteY3" fmla="*/ 1487296 h 2698940"/>
              <a:gd name="connsiteX4" fmla="*/ 4451693 w 4821290"/>
              <a:gd name="connsiteY4" fmla="*/ 1548016 h 2698940"/>
              <a:gd name="connsiteX5" fmla="*/ 4461499 w 4821290"/>
              <a:gd name="connsiteY5" fmla="*/ 2698940 h 2698940"/>
              <a:gd name="connsiteX6" fmla="*/ 0 w 4821290"/>
              <a:gd name="connsiteY6" fmla="*/ 2696064 h 2698940"/>
              <a:gd name="connsiteX0" fmla="*/ 0 w 4821290"/>
              <a:gd name="connsiteY0" fmla="*/ 2696064 h 2698940"/>
              <a:gd name="connsiteX1" fmla="*/ 18387 w 4821290"/>
              <a:gd name="connsiteY1" fmla="*/ 5388 h 2698940"/>
              <a:gd name="connsiteX2" fmla="*/ 4816305 w 4821290"/>
              <a:gd name="connsiteY2" fmla="*/ 0 h 2698940"/>
              <a:gd name="connsiteX3" fmla="*/ 4821290 w 4821290"/>
              <a:gd name="connsiteY3" fmla="*/ 1487296 h 2698940"/>
              <a:gd name="connsiteX4" fmla="*/ 4476207 w 4821290"/>
              <a:gd name="connsiteY4" fmla="*/ 1542344 h 2698940"/>
              <a:gd name="connsiteX5" fmla="*/ 4461499 w 4821290"/>
              <a:gd name="connsiteY5" fmla="*/ 2698940 h 2698940"/>
              <a:gd name="connsiteX6" fmla="*/ 0 w 4821290"/>
              <a:gd name="connsiteY6" fmla="*/ 2696064 h 2698940"/>
              <a:gd name="connsiteX0" fmla="*/ 0 w 4815162"/>
              <a:gd name="connsiteY0" fmla="*/ 2696064 h 2698940"/>
              <a:gd name="connsiteX1" fmla="*/ 12259 w 4815162"/>
              <a:gd name="connsiteY1" fmla="*/ 5388 h 2698940"/>
              <a:gd name="connsiteX2" fmla="*/ 4810177 w 4815162"/>
              <a:gd name="connsiteY2" fmla="*/ 0 h 2698940"/>
              <a:gd name="connsiteX3" fmla="*/ 4815162 w 4815162"/>
              <a:gd name="connsiteY3" fmla="*/ 1487296 h 2698940"/>
              <a:gd name="connsiteX4" fmla="*/ 4470079 w 4815162"/>
              <a:gd name="connsiteY4" fmla="*/ 1542344 h 2698940"/>
              <a:gd name="connsiteX5" fmla="*/ 4455371 w 4815162"/>
              <a:gd name="connsiteY5" fmla="*/ 2698940 h 2698940"/>
              <a:gd name="connsiteX6" fmla="*/ 0 w 4815162"/>
              <a:gd name="connsiteY6" fmla="*/ 2696064 h 2698940"/>
              <a:gd name="connsiteX0" fmla="*/ 12258 w 4802906"/>
              <a:gd name="connsiteY0" fmla="*/ 2684720 h 2698940"/>
              <a:gd name="connsiteX1" fmla="*/ 3 w 4802906"/>
              <a:gd name="connsiteY1" fmla="*/ 5388 h 2698940"/>
              <a:gd name="connsiteX2" fmla="*/ 4797921 w 4802906"/>
              <a:gd name="connsiteY2" fmla="*/ 0 h 2698940"/>
              <a:gd name="connsiteX3" fmla="*/ 4802906 w 4802906"/>
              <a:gd name="connsiteY3" fmla="*/ 1487296 h 2698940"/>
              <a:gd name="connsiteX4" fmla="*/ 4457823 w 4802906"/>
              <a:gd name="connsiteY4" fmla="*/ 1542344 h 2698940"/>
              <a:gd name="connsiteX5" fmla="*/ 4443115 w 4802906"/>
              <a:gd name="connsiteY5" fmla="*/ 2698940 h 2698940"/>
              <a:gd name="connsiteX6" fmla="*/ 12258 w 4802906"/>
              <a:gd name="connsiteY6" fmla="*/ 2684720 h 2698940"/>
              <a:gd name="connsiteX0" fmla="*/ 12280 w 4802928"/>
              <a:gd name="connsiteY0" fmla="*/ 2684720 h 2698940"/>
              <a:gd name="connsiteX1" fmla="*/ 25 w 4802928"/>
              <a:gd name="connsiteY1" fmla="*/ 5388 h 2698940"/>
              <a:gd name="connsiteX2" fmla="*/ 4797943 w 4802928"/>
              <a:gd name="connsiteY2" fmla="*/ 0 h 2698940"/>
              <a:gd name="connsiteX3" fmla="*/ 4802928 w 4802928"/>
              <a:gd name="connsiteY3" fmla="*/ 1487296 h 2698940"/>
              <a:gd name="connsiteX4" fmla="*/ 4457845 w 4802928"/>
              <a:gd name="connsiteY4" fmla="*/ 1542344 h 2698940"/>
              <a:gd name="connsiteX5" fmla="*/ 4443137 w 4802928"/>
              <a:gd name="connsiteY5" fmla="*/ 2698940 h 2698940"/>
              <a:gd name="connsiteX6" fmla="*/ 12280 w 4802928"/>
              <a:gd name="connsiteY6" fmla="*/ 2684720 h 2698940"/>
              <a:gd name="connsiteX0" fmla="*/ 12262 w 4802910"/>
              <a:gd name="connsiteY0" fmla="*/ 2684720 h 2698940"/>
              <a:gd name="connsiteX1" fmla="*/ 7 w 4802910"/>
              <a:gd name="connsiteY1" fmla="*/ 5388 h 2698940"/>
              <a:gd name="connsiteX2" fmla="*/ 4797925 w 4802910"/>
              <a:gd name="connsiteY2" fmla="*/ 0 h 2698940"/>
              <a:gd name="connsiteX3" fmla="*/ 4802910 w 4802910"/>
              <a:gd name="connsiteY3" fmla="*/ 1487296 h 2698940"/>
              <a:gd name="connsiteX4" fmla="*/ 4457827 w 4802910"/>
              <a:gd name="connsiteY4" fmla="*/ 1542344 h 2698940"/>
              <a:gd name="connsiteX5" fmla="*/ 4443119 w 4802910"/>
              <a:gd name="connsiteY5" fmla="*/ 2698940 h 2698940"/>
              <a:gd name="connsiteX6" fmla="*/ 12262 w 4802910"/>
              <a:gd name="connsiteY6" fmla="*/ 2684720 h 2698940"/>
              <a:gd name="connsiteX0" fmla="*/ 1202 w 4810236"/>
              <a:gd name="connsiteY0" fmla="*/ 2629413 h 2698940"/>
              <a:gd name="connsiteX1" fmla="*/ 7333 w 4810236"/>
              <a:gd name="connsiteY1" fmla="*/ 5388 h 2698940"/>
              <a:gd name="connsiteX2" fmla="*/ 4805251 w 4810236"/>
              <a:gd name="connsiteY2" fmla="*/ 0 h 2698940"/>
              <a:gd name="connsiteX3" fmla="*/ 4810236 w 4810236"/>
              <a:gd name="connsiteY3" fmla="*/ 1487296 h 2698940"/>
              <a:gd name="connsiteX4" fmla="*/ 4465153 w 4810236"/>
              <a:gd name="connsiteY4" fmla="*/ 1542344 h 2698940"/>
              <a:gd name="connsiteX5" fmla="*/ 4450445 w 4810236"/>
              <a:gd name="connsiteY5" fmla="*/ 2698940 h 2698940"/>
              <a:gd name="connsiteX6" fmla="*/ 1202 w 4810236"/>
              <a:gd name="connsiteY6" fmla="*/ 2629413 h 2698940"/>
              <a:gd name="connsiteX0" fmla="*/ 3452 w 4812486"/>
              <a:gd name="connsiteY0" fmla="*/ 2629413 h 2698940"/>
              <a:gd name="connsiteX1" fmla="*/ 390 w 4812486"/>
              <a:gd name="connsiteY1" fmla="*/ 9642 h 2698940"/>
              <a:gd name="connsiteX2" fmla="*/ 4807501 w 4812486"/>
              <a:gd name="connsiteY2" fmla="*/ 0 h 2698940"/>
              <a:gd name="connsiteX3" fmla="*/ 4812486 w 4812486"/>
              <a:gd name="connsiteY3" fmla="*/ 1487296 h 2698940"/>
              <a:gd name="connsiteX4" fmla="*/ 4467403 w 4812486"/>
              <a:gd name="connsiteY4" fmla="*/ 1542344 h 2698940"/>
              <a:gd name="connsiteX5" fmla="*/ 4452695 w 4812486"/>
              <a:gd name="connsiteY5" fmla="*/ 2698940 h 2698940"/>
              <a:gd name="connsiteX6" fmla="*/ 3452 w 4812486"/>
              <a:gd name="connsiteY6" fmla="*/ 2629413 h 269894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487296 h 2630870"/>
              <a:gd name="connsiteX4" fmla="*/ 4467403 w 4812486"/>
              <a:gd name="connsiteY4" fmla="*/ 1542344 h 2630870"/>
              <a:gd name="connsiteX5" fmla="*/ 4458824 w 4812486"/>
              <a:gd name="connsiteY5" fmla="*/ 2630870 h 2630870"/>
              <a:gd name="connsiteX6" fmla="*/ 3452 w 4812486"/>
              <a:gd name="connsiteY6"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487296 h 2630870"/>
              <a:gd name="connsiteX4" fmla="*/ 4467403 w 4812486"/>
              <a:gd name="connsiteY4" fmla="*/ 1542344 h 2630870"/>
              <a:gd name="connsiteX5" fmla="*/ 3433807 w 4812486"/>
              <a:gd name="connsiteY5" fmla="*/ 2630870 h 2630870"/>
              <a:gd name="connsiteX6" fmla="*/ 3452 w 4812486"/>
              <a:gd name="connsiteY6"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487296 h 2630870"/>
              <a:gd name="connsiteX4" fmla="*/ 4467403 w 4812486"/>
              <a:gd name="connsiteY4" fmla="*/ 1542344 h 2630870"/>
              <a:gd name="connsiteX5" fmla="*/ 4012969 w 4812486"/>
              <a:gd name="connsiteY5" fmla="*/ 1806140 h 2630870"/>
              <a:gd name="connsiteX6" fmla="*/ 3433807 w 4812486"/>
              <a:gd name="connsiteY6" fmla="*/ 2630870 h 2630870"/>
              <a:gd name="connsiteX7" fmla="*/ 3452 w 4812486"/>
              <a:gd name="connsiteY7"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487296 h 2630870"/>
              <a:gd name="connsiteX4" fmla="*/ 4467403 w 4812486"/>
              <a:gd name="connsiteY4" fmla="*/ 1542344 h 2630870"/>
              <a:gd name="connsiteX5" fmla="*/ 3191575 w 4812486"/>
              <a:gd name="connsiteY5" fmla="*/ 1576139 h 2630870"/>
              <a:gd name="connsiteX6" fmla="*/ 3433807 w 4812486"/>
              <a:gd name="connsiteY6" fmla="*/ 2630870 h 2630870"/>
              <a:gd name="connsiteX7" fmla="*/ 3452 w 4812486"/>
              <a:gd name="connsiteY7"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467403 w 4812486"/>
              <a:gd name="connsiteY4" fmla="*/ 1542344 h 2630870"/>
              <a:gd name="connsiteX5" fmla="*/ 3191575 w 4812486"/>
              <a:gd name="connsiteY5" fmla="*/ 1576139 h 2630870"/>
              <a:gd name="connsiteX6" fmla="*/ 3433807 w 4812486"/>
              <a:gd name="connsiteY6" fmla="*/ 2630870 h 2630870"/>
              <a:gd name="connsiteX7" fmla="*/ 3452 w 4812486"/>
              <a:gd name="connsiteY7"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63694 w 4812486"/>
              <a:gd name="connsiteY4" fmla="*/ 1203732 h 2630870"/>
              <a:gd name="connsiteX5" fmla="*/ 3191575 w 4812486"/>
              <a:gd name="connsiteY5" fmla="*/ 1576139 h 2630870"/>
              <a:gd name="connsiteX6" fmla="*/ 3433807 w 4812486"/>
              <a:gd name="connsiteY6" fmla="*/ 2630870 h 2630870"/>
              <a:gd name="connsiteX7" fmla="*/ 3452 w 4812486"/>
              <a:gd name="connsiteY7"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094669 w 4812486"/>
              <a:gd name="connsiteY4" fmla="*/ 1190954 h 2630870"/>
              <a:gd name="connsiteX5" fmla="*/ 3191575 w 4812486"/>
              <a:gd name="connsiteY5" fmla="*/ 1576139 h 2630870"/>
              <a:gd name="connsiteX6" fmla="*/ 3433807 w 4812486"/>
              <a:gd name="connsiteY6" fmla="*/ 2630870 h 2630870"/>
              <a:gd name="connsiteX7" fmla="*/ 3452 w 4812486"/>
              <a:gd name="connsiteY7"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08474 w 4812486"/>
              <a:gd name="connsiteY4" fmla="*/ 1159009 h 2630870"/>
              <a:gd name="connsiteX5" fmla="*/ 3191575 w 4812486"/>
              <a:gd name="connsiteY5" fmla="*/ 1576139 h 2630870"/>
              <a:gd name="connsiteX6" fmla="*/ 3433807 w 4812486"/>
              <a:gd name="connsiteY6" fmla="*/ 2630870 h 2630870"/>
              <a:gd name="connsiteX7" fmla="*/ 3452 w 4812486"/>
              <a:gd name="connsiteY7"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08474 w 4812486"/>
              <a:gd name="connsiteY4" fmla="*/ 1159009 h 2630870"/>
              <a:gd name="connsiteX5" fmla="*/ 4040579 w 4812486"/>
              <a:gd name="connsiteY5" fmla="*/ 1921140 h 2630870"/>
              <a:gd name="connsiteX6" fmla="*/ 3433807 w 4812486"/>
              <a:gd name="connsiteY6" fmla="*/ 2630870 h 2630870"/>
              <a:gd name="connsiteX7" fmla="*/ 3452 w 4812486"/>
              <a:gd name="connsiteY7"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08474 w 4812486"/>
              <a:gd name="connsiteY4" fmla="*/ 1159009 h 2630870"/>
              <a:gd name="connsiteX5" fmla="*/ 4040579 w 4812486"/>
              <a:gd name="connsiteY5" fmla="*/ 1921140 h 2630870"/>
              <a:gd name="connsiteX6" fmla="*/ 3912883 w 4812486"/>
              <a:gd name="connsiteY6" fmla="*/ 2320447 h 2630870"/>
              <a:gd name="connsiteX7" fmla="*/ 3433807 w 4812486"/>
              <a:gd name="connsiteY7" fmla="*/ 2630870 h 2630870"/>
              <a:gd name="connsiteX8" fmla="*/ 3452 w 4812486"/>
              <a:gd name="connsiteY8"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08474 w 4812486"/>
              <a:gd name="connsiteY4" fmla="*/ 1159009 h 2630870"/>
              <a:gd name="connsiteX5" fmla="*/ 4040579 w 4812486"/>
              <a:gd name="connsiteY5" fmla="*/ 1921140 h 2630870"/>
              <a:gd name="connsiteX6" fmla="*/ 3381393 w 4812486"/>
              <a:gd name="connsiteY6" fmla="*/ 1905168 h 2630870"/>
              <a:gd name="connsiteX7" fmla="*/ 3433807 w 4812486"/>
              <a:gd name="connsiteY7" fmla="*/ 2630870 h 2630870"/>
              <a:gd name="connsiteX8" fmla="*/ 3452 w 4812486"/>
              <a:gd name="connsiteY8"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08474 w 4812486"/>
              <a:gd name="connsiteY4" fmla="*/ 1159009 h 2630870"/>
              <a:gd name="connsiteX5" fmla="*/ 4068189 w 4812486"/>
              <a:gd name="connsiteY5" fmla="*/ 1933918 h 2630870"/>
              <a:gd name="connsiteX6" fmla="*/ 3381393 w 4812486"/>
              <a:gd name="connsiteY6" fmla="*/ 1905168 h 2630870"/>
              <a:gd name="connsiteX7" fmla="*/ 3433807 w 4812486"/>
              <a:gd name="connsiteY7" fmla="*/ 2630870 h 2630870"/>
              <a:gd name="connsiteX8" fmla="*/ 3452 w 4812486"/>
              <a:gd name="connsiteY8"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49889 w 4812486"/>
              <a:gd name="connsiteY4" fmla="*/ 1168593 h 2630870"/>
              <a:gd name="connsiteX5" fmla="*/ 4068189 w 4812486"/>
              <a:gd name="connsiteY5" fmla="*/ 1933918 h 2630870"/>
              <a:gd name="connsiteX6" fmla="*/ 3381393 w 4812486"/>
              <a:gd name="connsiteY6" fmla="*/ 1905168 h 2630870"/>
              <a:gd name="connsiteX7" fmla="*/ 3433807 w 4812486"/>
              <a:gd name="connsiteY7" fmla="*/ 2630870 h 2630870"/>
              <a:gd name="connsiteX8" fmla="*/ 3452 w 4812486"/>
              <a:gd name="connsiteY8"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49889 w 4812486"/>
              <a:gd name="connsiteY4" fmla="*/ 1168593 h 2630870"/>
              <a:gd name="connsiteX5" fmla="*/ 4068189 w 4812486"/>
              <a:gd name="connsiteY5" fmla="*/ 1933918 h 2630870"/>
              <a:gd name="connsiteX6" fmla="*/ 3381393 w 4812486"/>
              <a:gd name="connsiteY6" fmla="*/ 1905168 h 2630870"/>
              <a:gd name="connsiteX7" fmla="*/ 3433807 w 4812486"/>
              <a:gd name="connsiteY7" fmla="*/ 2630870 h 2630870"/>
              <a:gd name="connsiteX8" fmla="*/ 3452 w 4812486"/>
              <a:gd name="connsiteY8"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60243 w 4812486"/>
              <a:gd name="connsiteY4" fmla="*/ 1156614 h 2630870"/>
              <a:gd name="connsiteX5" fmla="*/ 4068189 w 4812486"/>
              <a:gd name="connsiteY5" fmla="*/ 1933918 h 2630870"/>
              <a:gd name="connsiteX6" fmla="*/ 3381393 w 4812486"/>
              <a:gd name="connsiteY6" fmla="*/ 1905168 h 2630870"/>
              <a:gd name="connsiteX7" fmla="*/ 3433807 w 4812486"/>
              <a:gd name="connsiteY7" fmla="*/ 2630870 h 2630870"/>
              <a:gd name="connsiteX8" fmla="*/ 3452 w 4812486"/>
              <a:gd name="connsiteY8"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83538 w 4812486"/>
              <a:gd name="connsiteY4" fmla="*/ 1144635 h 2630870"/>
              <a:gd name="connsiteX5" fmla="*/ 4068189 w 4812486"/>
              <a:gd name="connsiteY5" fmla="*/ 1933918 h 2630870"/>
              <a:gd name="connsiteX6" fmla="*/ 3381393 w 4812486"/>
              <a:gd name="connsiteY6" fmla="*/ 1905168 h 2630870"/>
              <a:gd name="connsiteX7" fmla="*/ 3433807 w 4812486"/>
              <a:gd name="connsiteY7" fmla="*/ 2630870 h 2630870"/>
              <a:gd name="connsiteX8" fmla="*/ 3452 w 4812486"/>
              <a:gd name="connsiteY8"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83538 w 4812486"/>
              <a:gd name="connsiteY4" fmla="*/ 1132656 h 2630870"/>
              <a:gd name="connsiteX5" fmla="*/ 4068189 w 4812486"/>
              <a:gd name="connsiteY5" fmla="*/ 1933918 h 2630870"/>
              <a:gd name="connsiteX6" fmla="*/ 3381393 w 4812486"/>
              <a:gd name="connsiteY6" fmla="*/ 1905168 h 2630870"/>
              <a:gd name="connsiteX7" fmla="*/ 3433807 w 4812486"/>
              <a:gd name="connsiteY7" fmla="*/ 2630870 h 2630870"/>
              <a:gd name="connsiteX8" fmla="*/ 3452 w 4812486"/>
              <a:gd name="connsiteY8"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91304 w 4812486"/>
              <a:gd name="connsiteY4" fmla="*/ 1132656 h 2630870"/>
              <a:gd name="connsiteX5" fmla="*/ 4068189 w 4812486"/>
              <a:gd name="connsiteY5" fmla="*/ 1933918 h 2630870"/>
              <a:gd name="connsiteX6" fmla="*/ 3381393 w 4812486"/>
              <a:gd name="connsiteY6" fmla="*/ 1905168 h 2630870"/>
              <a:gd name="connsiteX7" fmla="*/ 3433807 w 4812486"/>
              <a:gd name="connsiteY7" fmla="*/ 2630870 h 2630870"/>
              <a:gd name="connsiteX8" fmla="*/ 3452 w 4812486"/>
              <a:gd name="connsiteY8"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91304 w 4812486"/>
              <a:gd name="connsiteY4" fmla="*/ 1132656 h 2630870"/>
              <a:gd name="connsiteX5" fmla="*/ 4068189 w 4812486"/>
              <a:gd name="connsiteY5" fmla="*/ 1933918 h 2630870"/>
              <a:gd name="connsiteX6" fmla="*/ 3381393 w 4812486"/>
              <a:gd name="connsiteY6" fmla="*/ 1905168 h 2630870"/>
              <a:gd name="connsiteX7" fmla="*/ 3433807 w 4812486"/>
              <a:gd name="connsiteY7" fmla="*/ 2630870 h 2630870"/>
              <a:gd name="connsiteX8" fmla="*/ 3452 w 4812486"/>
              <a:gd name="connsiteY8"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91304 w 4812486"/>
              <a:gd name="connsiteY4" fmla="*/ 1132656 h 2630870"/>
              <a:gd name="connsiteX5" fmla="*/ 4122545 w 4812486"/>
              <a:gd name="connsiteY5" fmla="*/ 1881209 h 2630870"/>
              <a:gd name="connsiteX6" fmla="*/ 3381393 w 4812486"/>
              <a:gd name="connsiteY6" fmla="*/ 1905168 h 2630870"/>
              <a:gd name="connsiteX7" fmla="*/ 3433807 w 4812486"/>
              <a:gd name="connsiteY7" fmla="*/ 2630870 h 2630870"/>
              <a:gd name="connsiteX8" fmla="*/ 3452 w 4812486"/>
              <a:gd name="connsiteY8"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91304 w 4812486"/>
              <a:gd name="connsiteY4" fmla="*/ 1132656 h 2630870"/>
              <a:gd name="connsiteX5" fmla="*/ 4122545 w 4812486"/>
              <a:gd name="connsiteY5" fmla="*/ 1881209 h 2630870"/>
              <a:gd name="connsiteX6" fmla="*/ 3381393 w 4812486"/>
              <a:gd name="connsiteY6" fmla="*/ 1905168 h 2630870"/>
              <a:gd name="connsiteX7" fmla="*/ 3433807 w 4812486"/>
              <a:gd name="connsiteY7" fmla="*/ 2630870 h 2630870"/>
              <a:gd name="connsiteX8" fmla="*/ 3452 w 4812486"/>
              <a:gd name="connsiteY8"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91304 w 4812486"/>
              <a:gd name="connsiteY4" fmla="*/ 1132656 h 2630870"/>
              <a:gd name="connsiteX5" fmla="*/ 4122545 w 4812486"/>
              <a:gd name="connsiteY5" fmla="*/ 1881209 h 2630870"/>
              <a:gd name="connsiteX6" fmla="*/ 3391746 w 4812486"/>
              <a:gd name="connsiteY6" fmla="*/ 1905168 h 2630870"/>
              <a:gd name="connsiteX7" fmla="*/ 3433807 w 4812486"/>
              <a:gd name="connsiteY7" fmla="*/ 2630870 h 2630870"/>
              <a:gd name="connsiteX8" fmla="*/ 3452 w 4812486"/>
              <a:gd name="connsiteY8"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91304 w 4812486"/>
              <a:gd name="connsiteY4" fmla="*/ 1132656 h 2630870"/>
              <a:gd name="connsiteX5" fmla="*/ 4122545 w 4812486"/>
              <a:gd name="connsiteY5" fmla="*/ 1881209 h 2630870"/>
              <a:gd name="connsiteX6" fmla="*/ 3391746 w 4812486"/>
              <a:gd name="connsiteY6" fmla="*/ 1905168 h 2630870"/>
              <a:gd name="connsiteX7" fmla="*/ 3433807 w 4812486"/>
              <a:gd name="connsiteY7" fmla="*/ 2630870 h 2630870"/>
              <a:gd name="connsiteX8" fmla="*/ 3452 w 4812486"/>
              <a:gd name="connsiteY8" fmla="*/ 2629413 h 2630870"/>
              <a:gd name="connsiteX0" fmla="*/ 3452 w 4812486"/>
              <a:gd name="connsiteY0" fmla="*/ 2629413 h 2630870"/>
              <a:gd name="connsiteX1" fmla="*/ 390 w 4812486"/>
              <a:gd name="connsiteY1" fmla="*/ 9642 h 2630870"/>
              <a:gd name="connsiteX2" fmla="*/ 4807501 w 4812486"/>
              <a:gd name="connsiteY2" fmla="*/ 0 h 2630870"/>
              <a:gd name="connsiteX3" fmla="*/ 4812486 w 4812486"/>
              <a:gd name="connsiteY3" fmla="*/ 1110350 h 2630870"/>
              <a:gd name="connsiteX4" fmla="*/ 4191304 w 4812486"/>
              <a:gd name="connsiteY4" fmla="*/ 1132656 h 2630870"/>
              <a:gd name="connsiteX5" fmla="*/ 4122545 w 4812486"/>
              <a:gd name="connsiteY5" fmla="*/ 1881209 h 2630870"/>
              <a:gd name="connsiteX6" fmla="*/ 3391746 w 4812486"/>
              <a:gd name="connsiteY6" fmla="*/ 1905168 h 2630870"/>
              <a:gd name="connsiteX7" fmla="*/ 3433807 w 4812486"/>
              <a:gd name="connsiteY7" fmla="*/ 2630870 h 2630870"/>
              <a:gd name="connsiteX8" fmla="*/ 3452 w 4812486"/>
              <a:gd name="connsiteY8" fmla="*/ 2629413 h 2630870"/>
              <a:gd name="connsiteX0" fmla="*/ 3452 w 4812486"/>
              <a:gd name="connsiteY0" fmla="*/ 2629413 h 3137647"/>
              <a:gd name="connsiteX1" fmla="*/ 390 w 4812486"/>
              <a:gd name="connsiteY1" fmla="*/ 9642 h 3137647"/>
              <a:gd name="connsiteX2" fmla="*/ 4807501 w 4812486"/>
              <a:gd name="connsiteY2" fmla="*/ 0 h 3137647"/>
              <a:gd name="connsiteX3" fmla="*/ 4812486 w 4812486"/>
              <a:gd name="connsiteY3" fmla="*/ 1110350 h 3137647"/>
              <a:gd name="connsiteX4" fmla="*/ 4191304 w 4812486"/>
              <a:gd name="connsiteY4" fmla="*/ 1132656 h 3137647"/>
              <a:gd name="connsiteX5" fmla="*/ 4122545 w 4812486"/>
              <a:gd name="connsiteY5" fmla="*/ 1881209 h 3137647"/>
              <a:gd name="connsiteX6" fmla="*/ 3391746 w 4812486"/>
              <a:gd name="connsiteY6" fmla="*/ 1905168 h 3137647"/>
              <a:gd name="connsiteX7" fmla="*/ 3433807 w 4812486"/>
              <a:gd name="connsiteY7" fmla="*/ 2630870 h 3137647"/>
              <a:gd name="connsiteX8" fmla="*/ 3452 w 4812486"/>
              <a:gd name="connsiteY8" fmla="*/ 2629413 h 3137647"/>
              <a:gd name="connsiteX0" fmla="*/ 3452 w 4812486"/>
              <a:gd name="connsiteY0" fmla="*/ 2629413 h 3137647"/>
              <a:gd name="connsiteX1" fmla="*/ 390 w 4812486"/>
              <a:gd name="connsiteY1" fmla="*/ 9642 h 3137647"/>
              <a:gd name="connsiteX2" fmla="*/ 4807501 w 4812486"/>
              <a:gd name="connsiteY2" fmla="*/ 0 h 3137647"/>
              <a:gd name="connsiteX3" fmla="*/ 4812486 w 4812486"/>
              <a:gd name="connsiteY3" fmla="*/ 1110350 h 3137647"/>
              <a:gd name="connsiteX4" fmla="*/ 4191304 w 4812486"/>
              <a:gd name="connsiteY4" fmla="*/ 1132656 h 3137647"/>
              <a:gd name="connsiteX5" fmla="*/ 4122545 w 4812486"/>
              <a:gd name="connsiteY5" fmla="*/ 1881209 h 3137647"/>
              <a:gd name="connsiteX6" fmla="*/ 3391746 w 4812486"/>
              <a:gd name="connsiteY6" fmla="*/ 1905168 h 3137647"/>
              <a:gd name="connsiteX7" fmla="*/ 3433807 w 4812486"/>
              <a:gd name="connsiteY7" fmla="*/ 2630870 h 3137647"/>
              <a:gd name="connsiteX8" fmla="*/ 3452 w 4812486"/>
              <a:gd name="connsiteY8" fmla="*/ 2629413 h 3137647"/>
              <a:gd name="connsiteX0" fmla="*/ 3452 w 4812486"/>
              <a:gd name="connsiteY0" fmla="*/ 2629413 h 2643577"/>
              <a:gd name="connsiteX1" fmla="*/ 390 w 4812486"/>
              <a:gd name="connsiteY1" fmla="*/ 9642 h 2643577"/>
              <a:gd name="connsiteX2" fmla="*/ 4807501 w 4812486"/>
              <a:gd name="connsiteY2" fmla="*/ 0 h 2643577"/>
              <a:gd name="connsiteX3" fmla="*/ 4812486 w 4812486"/>
              <a:gd name="connsiteY3" fmla="*/ 1110350 h 2643577"/>
              <a:gd name="connsiteX4" fmla="*/ 4191304 w 4812486"/>
              <a:gd name="connsiteY4" fmla="*/ 1132656 h 2643577"/>
              <a:gd name="connsiteX5" fmla="*/ 4122545 w 4812486"/>
              <a:gd name="connsiteY5" fmla="*/ 1881209 h 2643577"/>
              <a:gd name="connsiteX6" fmla="*/ 3391746 w 4812486"/>
              <a:gd name="connsiteY6" fmla="*/ 1905168 h 2643577"/>
              <a:gd name="connsiteX7" fmla="*/ 3433807 w 4812486"/>
              <a:gd name="connsiteY7" fmla="*/ 2630870 h 2643577"/>
              <a:gd name="connsiteX8" fmla="*/ 3452 w 4812486"/>
              <a:gd name="connsiteY8" fmla="*/ 2629413 h 2643577"/>
              <a:gd name="connsiteX0" fmla="*/ 3452 w 4812486"/>
              <a:gd name="connsiteY0" fmla="*/ 2629413 h 2646415"/>
              <a:gd name="connsiteX1" fmla="*/ 390 w 4812486"/>
              <a:gd name="connsiteY1" fmla="*/ 9642 h 2646415"/>
              <a:gd name="connsiteX2" fmla="*/ 4807501 w 4812486"/>
              <a:gd name="connsiteY2" fmla="*/ 0 h 2646415"/>
              <a:gd name="connsiteX3" fmla="*/ 4812486 w 4812486"/>
              <a:gd name="connsiteY3" fmla="*/ 1110350 h 2646415"/>
              <a:gd name="connsiteX4" fmla="*/ 4191304 w 4812486"/>
              <a:gd name="connsiteY4" fmla="*/ 1132656 h 2646415"/>
              <a:gd name="connsiteX5" fmla="*/ 4122545 w 4812486"/>
              <a:gd name="connsiteY5" fmla="*/ 1881209 h 2646415"/>
              <a:gd name="connsiteX6" fmla="*/ 3391746 w 4812486"/>
              <a:gd name="connsiteY6" fmla="*/ 1905168 h 2646415"/>
              <a:gd name="connsiteX7" fmla="*/ 3433807 w 4812486"/>
              <a:gd name="connsiteY7" fmla="*/ 2630870 h 2646415"/>
              <a:gd name="connsiteX8" fmla="*/ 3452 w 4812486"/>
              <a:gd name="connsiteY8" fmla="*/ 2629413 h 2646415"/>
              <a:gd name="connsiteX0" fmla="*/ 3452 w 4812486"/>
              <a:gd name="connsiteY0" fmla="*/ 2629413 h 2651351"/>
              <a:gd name="connsiteX1" fmla="*/ 390 w 4812486"/>
              <a:gd name="connsiteY1" fmla="*/ 9642 h 2651351"/>
              <a:gd name="connsiteX2" fmla="*/ 4807501 w 4812486"/>
              <a:gd name="connsiteY2" fmla="*/ 0 h 2651351"/>
              <a:gd name="connsiteX3" fmla="*/ 4812486 w 4812486"/>
              <a:gd name="connsiteY3" fmla="*/ 1110350 h 2651351"/>
              <a:gd name="connsiteX4" fmla="*/ 4191304 w 4812486"/>
              <a:gd name="connsiteY4" fmla="*/ 1132656 h 2651351"/>
              <a:gd name="connsiteX5" fmla="*/ 4122545 w 4812486"/>
              <a:gd name="connsiteY5" fmla="*/ 1881209 h 2651351"/>
              <a:gd name="connsiteX6" fmla="*/ 3391746 w 4812486"/>
              <a:gd name="connsiteY6" fmla="*/ 1905168 h 2651351"/>
              <a:gd name="connsiteX7" fmla="*/ 3440709 w 4812486"/>
              <a:gd name="connsiteY7" fmla="*/ 2637259 h 2651351"/>
              <a:gd name="connsiteX8" fmla="*/ 3452 w 4812486"/>
              <a:gd name="connsiteY8" fmla="*/ 2629413 h 2651351"/>
              <a:gd name="connsiteX0" fmla="*/ 3452 w 4812486"/>
              <a:gd name="connsiteY0" fmla="*/ 2629413 h 2637259"/>
              <a:gd name="connsiteX1" fmla="*/ 390 w 4812486"/>
              <a:gd name="connsiteY1" fmla="*/ 9642 h 2637259"/>
              <a:gd name="connsiteX2" fmla="*/ 4807501 w 4812486"/>
              <a:gd name="connsiteY2" fmla="*/ 0 h 2637259"/>
              <a:gd name="connsiteX3" fmla="*/ 4812486 w 4812486"/>
              <a:gd name="connsiteY3" fmla="*/ 1110350 h 2637259"/>
              <a:gd name="connsiteX4" fmla="*/ 4191304 w 4812486"/>
              <a:gd name="connsiteY4" fmla="*/ 1132656 h 2637259"/>
              <a:gd name="connsiteX5" fmla="*/ 4122545 w 4812486"/>
              <a:gd name="connsiteY5" fmla="*/ 1881209 h 2637259"/>
              <a:gd name="connsiteX6" fmla="*/ 3391746 w 4812486"/>
              <a:gd name="connsiteY6" fmla="*/ 1905168 h 2637259"/>
              <a:gd name="connsiteX7" fmla="*/ 3440709 w 4812486"/>
              <a:gd name="connsiteY7" fmla="*/ 2637259 h 2637259"/>
              <a:gd name="connsiteX8" fmla="*/ 3452 w 4812486"/>
              <a:gd name="connsiteY8" fmla="*/ 2629413 h 2637259"/>
              <a:gd name="connsiteX0" fmla="*/ 3452 w 4812486"/>
              <a:gd name="connsiteY0" fmla="*/ 2629413 h 2637259"/>
              <a:gd name="connsiteX1" fmla="*/ 390 w 4812486"/>
              <a:gd name="connsiteY1" fmla="*/ 9642 h 2637259"/>
              <a:gd name="connsiteX2" fmla="*/ 4807501 w 4812486"/>
              <a:gd name="connsiteY2" fmla="*/ 0 h 2637259"/>
              <a:gd name="connsiteX3" fmla="*/ 4812486 w 4812486"/>
              <a:gd name="connsiteY3" fmla="*/ 1110350 h 2637259"/>
              <a:gd name="connsiteX4" fmla="*/ 4191304 w 4812486"/>
              <a:gd name="connsiteY4" fmla="*/ 1132656 h 2637259"/>
              <a:gd name="connsiteX5" fmla="*/ 4122545 w 4812486"/>
              <a:gd name="connsiteY5" fmla="*/ 1881209 h 2637259"/>
              <a:gd name="connsiteX6" fmla="*/ 3391746 w 4812486"/>
              <a:gd name="connsiteY6" fmla="*/ 1905168 h 2637259"/>
              <a:gd name="connsiteX7" fmla="*/ 3440709 w 4812486"/>
              <a:gd name="connsiteY7" fmla="*/ 2637259 h 2637259"/>
              <a:gd name="connsiteX8" fmla="*/ 3452 w 4812486"/>
              <a:gd name="connsiteY8" fmla="*/ 2629413 h 2637259"/>
              <a:gd name="connsiteX0" fmla="*/ 3452 w 4812486"/>
              <a:gd name="connsiteY0" fmla="*/ 2629413 h 2632468"/>
              <a:gd name="connsiteX1" fmla="*/ 390 w 4812486"/>
              <a:gd name="connsiteY1" fmla="*/ 9642 h 2632468"/>
              <a:gd name="connsiteX2" fmla="*/ 4807501 w 4812486"/>
              <a:gd name="connsiteY2" fmla="*/ 0 h 2632468"/>
              <a:gd name="connsiteX3" fmla="*/ 4812486 w 4812486"/>
              <a:gd name="connsiteY3" fmla="*/ 1110350 h 2632468"/>
              <a:gd name="connsiteX4" fmla="*/ 4191304 w 4812486"/>
              <a:gd name="connsiteY4" fmla="*/ 1132656 h 2632468"/>
              <a:gd name="connsiteX5" fmla="*/ 4122545 w 4812486"/>
              <a:gd name="connsiteY5" fmla="*/ 1881209 h 2632468"/>
              <a:gd name="connsiteX6" fmla="*/ 3391746 w 4812486"/>
              <a:gd name="connsiteY6" fmla="*/ 1905168 h 2632468"/>
              <a:gd name="connsiteX7" fmla="*/ 3414825 w 4812486"/>
              <a:gd name="connsiteY7" fmla="*/ 2632468 h 2632468"/>
              <a:gd name="connsiteX8" fmla="*/ 3452 w 4812486"/>
              <a:gd name="connsiteY8" fmla="*/ 2629413 h 2632468"/>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22545 w 4812486"/>
              <a:gd name="connsiteY5" fmla="*/ 1881209 h 2637890"/>
              <a:gd name="connsiteX6" fmla="*/ 3391746 w 4812486"/>
              <a:gd name="connsiteY6" fmla="*/ 1905168 h 2637890"/>
              <a:gd name="connsiteX7" fmla="*/ 3414825 w 4812486"/>
              <a:gd name="connsiteY7" fmla="*/ 2632468 h 2637890"/>
              <a:gd name="connsiteX8" fmla="*/ 3452 w 4812486"/>
              <a:gd name="connsiteY8"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22545 w 4812486"/>
              <a:gd name="connsiteY5" fmla="*/ 1881209 h 2637890"/>
              <a:gd name="connsiteX6" fmla="*/ 3521168 w 4812486"/>
              <a:gd name="connsiteY6" fmla="*/ 1905168 h 2637890"/>
              <a:gd name="connsiteX7" fmla="*/ 3414825 w 4812486"/>
              <a:gd name="connsiteY7" fmla="*/ 2632468 h 2637890"/>
              <a:gd name="connsiteX8" fmla="*/ 3452 w 4812486"/>
              <a:gd name="connsiteY8"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22545 w 4812486"/>
              <a:gd name="connsiteY5" fmla="*/ 1881209 h 2637890"/>
              <a:gd name="connsiteX6" fmla="*/ 3521168 w 4812486"/>
              <a:gd name="connsiteY6" fmla="*/ 1905168 h 2637890"/>
              <a:gd name="connsiteX7" fmla="*/ 3414825 w 4812486"/>
              <a:gd name="connsiteY7" fmla="*/ 2632468 h 2637890"/>
              <a:gd name="connsiteX8" fmla="*/ 3452 w 4812486"/>
              <a:gd name="connsiteY8"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22545 w 4812486"/>
              <a:gd name="connsiteY5" fmla="*/ 1881209 h 2637890"/>
              <a:gd name="connsiteX6" fmla="*/ 3521168 w 4812486"/>
              <a:gd name="connsiteY6" fmla="*/ 1905168 h 2637890"/>
              <a:gd name="connsiteX7" fmla="*/ 3414825 w 4812486"/>
              <a:gd name="connsiteY7" fmla="*/ 2632468 h 2637890"/>
              <a:gd name="connsiteX8" fmla="*/ 3452 w 4812486"/>
              <a:gd name="connsiteY8"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22545 w 4812486"/>
              <a:gd name="connsiteY5" fmla="*/ 1881209 h 2637890"/>
              <a:gd name="connsiteX6" fmla="*/ 3611762 w 4812486"/>
              <a:gd name="connsiteY6" fmla="*/ 1880411 h 2637890"/>
              <a:gd name="connsiteX7" fmla="*/ 3521168 w 4812486"/>
              <a:gd name="connsiteY7" fmla="*/ 1905168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22545 w 4812486"/>
              <a:gd name="connsiteY5" fmla="*/ 1881209 h 2637890"/>
              <a:gd name="connsiteX6" fmla="*/ 3611762 w 4812486"/>
              <a:gd name="connsiteY6" fmla="*/ 1880411 h 2637890"/>
              <a:gd name="connsiteX7" fmla="*/ 3433162 w 4812486"/>
              <a:gd name="connsiteY7" fmla="*/ 199381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22545 w 4812486"/>
              <a:gd name="connsiteY5" fmla="*/ 1881209 h 2637890"/>
              <a:gd name="connsiteX6" fmla="*/ 3611762 w 4812486"/>
              <a:gd name="connsiteY6" fmla="*/ 1880411 h 2637890"/>
              <a:gd name="connsiteX7" fmla="*/ 3433162 w 4812486"/>
              <a:gd name="connsiteY7" fmla="*/ 199381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22545 w 4812486"/>
              <a:gd name="connsiteY5" fmla="*/ 1881209 h 2637890"/>
              <a:gd name="connsiteX6" fmla="*/ 3611762 w 4812486"/>
              <a:gd name="connsiteY6" fmla="*/ 1880411 h 2637890"/>
              <a:gd name="connsiteX7" fmla="*/ 3433162 w 4812486"/>
              <a:gd name="connsiteY7" fmla="*/ 199381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22545 w 4812486"/>
              <a:gd name="connsiteY5" fmla="*/ 1881209 h 2637890"/>
              <a:gd name="connsiteX6" fmla="*/ 3611762 w 4812486"/>
              <a:gd name="connsiteY6" fmla="*/ 1880411 h 2637890"/>
              <a:gd name="connsiteX7" fmla="*/ 3430574 w 4812486"/>
              <a:gd name="connsiteY7" fmla="*/ 1986626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22545 w 4812486"/>
              <a:gd name="connsiteY5" fmla="*/ 1881209 h 2637890"/>
              <a:gd name="connsiteX6" fmla="*/ 3611762 w 4812486"/>
              <a:gd name="connsiteY6" fmla="*/ 1880411 h 2637890"/>
              <a:gd name="connsiteX7" fmla="*/ 3427986 w 4812486"/>
              <a:gd name="connsiteY7" fmla="*/ 1986626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22545 w 4812486"/>
              <a:gd name="connsiteY5" fmla="*/ 1881209 h 2637890"/>
              <a:gd name="connsiteX6" fmla="*/ 3611762 w 4812486"/>
              <a:gd name="connsiteY6" fmla="*/ 1880411 h 2637890"/>
              <a:gd name="connsiteX7" fmla="*/ 3427986 w 4812486"/>
              <a:gd name="connsiteY7" fmla="*/ 1986626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22545 w 4812486"/>
              <a:gd name="connsiteY5" fmla="*/ 1881209 h 2637890"/>
              <a:gd name="connsiteX6" fmla="*/ 3611762 w 4812486"/>
              <a:gd name="connsiteY6" fmla="*/ 1880411 h 2637890"/>
              <a:gd name="connsiteX7" fmla="*/ 3427986 w 4812486"/>
              <a:gd name="connsiteY7" fmla="*/ 1986626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22545 w 4812486"/>
              <a:gd name="connsiteY5" fmla="*/ 1881209 h 2637890"/>
              <a:gd name="connsiteX6" fmla="*/ 3611762 w 4812486"/>
              <a:gd name="connsiteY6" fmla="*/ 1880411 h 2637890"/>
              <a:gd name="connsiteX7" fmla="*/ 3427986 w 4812486"/>
              <a:gd name="connsiteY7" fmla="*/ 1986626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22545 w 4812486"/>
              <a:gd name="connsiteY5" fmla="*/ 1881209 h 2637890"/>
              <a:gd name="connsiteX6" fmla="*/ 3611762 w 4812486"/>
              <a:gd name="connsiteY6" fmla="*/ 1880411 h 2637890"/>
              <a:gd name="connsiteX7" fmla="*/ 3427986 w 4812486"/>
              <a:gd name="connsiteY7" fmla="*/ 1986626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11762 w 4812486"/>
              <a:gd name="connsiteY6" fmla="*/ 1880411 h 2637890"/>
              <a:gd name="connsiteX7" fmla="*/ 3427986 w 4812486"/>
              <a:gd name="connsiteY7" fmla="*/ 1986626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11762 w 4812486"/>
              <a:gd name="connsiteY6" fmla="*/ 1880411 h 2637890"/>
              <a:gd name="connsiteX7" fmla="*/ 3427986 w 4812486"/>
              <a:gd name="connsiteY7" fmla="*/ 1986626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11762 w 4812486"/>
              <a:gd name="connsiteY6" fmla="*/ 1880411 h 2637890"/>
              <a:gd name="connsiteX7" fmla="*/ 3427986 w 4812486"/>
              <a:gd name="connsiteY7" fmla="*/ 1986626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22116 w 4812486"/>
              <a:gd name="connsiteY6" fmla="*/ 1885203 h 2637890"/>
              <a:gd name="connsiteX7" fmla="*/ 3427986 w 4812486"/>
              <a:gd name="connsiteY7" fmla="*/ 1986626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22116 w 4812486"/>
              <a:gd name="connsiteY6" fmla="*/ 1885203 h 2637890"/>
              <a:gd name="connsiteX7" fmla="*/ 3420220 w 4812486"/>
              <a:gd name="connsiteY7" fmla="*/ 1984230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22116 w 4812486"/>
              <a:gd name="connsiteY6" fmla="*/ 1885203 h 2637890"/>
              <a:gd name="connsiteX7" fmla="*/ 3420220 w 4812486"/>
              <a:gd name="connsiteY7" fmla="*/ 1984230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42824 w 4812486"/>
              <a:gd name="connsiteY6" fmla="*/ 1889996 h 2637890"/>
              <a:gd name="connsiteX7" fmla="*/ 3420220 w 4812486"/>
              <a:gd name="connsiteY7" fmla="*/ 1984230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42824 w 4812486"/>
              <a:gd name="connsiteY6" fmla="*/ 1889996 h 2637890"/>
              <a:gd name="connsiteX7" fmla="*/ 3420220 w 4812486"/>
              <a:gd name="connsiteY7" fmla="*/ 1984230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42824 w 4812486"/>
              <a:gd name="connsiteY6" fmla="*/ 1889996 h 2637890"/>
              <a:gd name="connsiteX7" fmla="*/ 3420220 w 4812486"/>
              <a:gd name="connsiteY7" fmla="*/ 1984230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42824 w 4812486"/>
              <a:gd name="connsiteY6" fmla="*/ 1889996 h 2637890"/>
              <a:gd name="connsiteX7" fmla="*/ 3420220 w 4812486"/>
              <a:gd name="connsiteY7" fmla="*/ 1984230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42824 w 4812486"/>
              <a:gd name="connsiteY6" fmla="*/ 1889996 h 2637890"/>
              <a:gd name="connsiteX7" fmla="*/ 3420220 w 4812486"/>
              <a:gd name="connsiteY7" fmla="*/ 1984230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42824 w 4812486"/>
              <a:gd name="connsiteY6" fmla="*/ 1889996 h 2637890"/>
              <a:gd name="connsiteX7" fmla="*/ 3420220 w 4812486"/>
              <a:gd name="connsiteY7" fmla="*/ 1984230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42824 w 4812486"/>
              <a:gd name="connsiteY6" fmla="*/ 1889996 h 2637890"/>
              <a:gd name="connsiteX7" fmla="*/ 3433162 w 4812486"/>
              <a:gd name="connsiteY7" fmla="*/ 1974646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42824 w 4812486"/>
              <a:gd name="connsiteY6" fmla="*/ 1889996 h 2637890"/>
              <a:gd name="connsiteX7" fmla="*/ 3433162 w 4812486"/>
              <a:gd name="connsiteY7" fmla="*/ 1974646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42824 w 4812486"/>
              <a:gd name="connsiteY6" fmla="*/ 1889996 h 2637890"/>
              <a:gd name="connsiteX7" fmla="*/ 3433162 w 4812486"/>
              <a:gd name="connsiteY7" fmla="*/ 1974646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42824 w 4812486"/>
              <a:gd name="connsiteY6" fmla="*/ 1889996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42824 w 4812486"/>
              <a:gd name="connsiteY6" fmla="*/ 1889996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42824 w 4812486"/>
              <a:gd name="connsiteY6" fmla="*/ 1889996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32471 w 4812486"/>
              <a:gd name="connsiteY6" fmla="*/ 1885203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32471 w 4812486"/>
              <a:gd name="connsiteY6" fmla="*/ 1885203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32471 w 4812486"/>
              <a:gd name="connsiteY6" fmla="*/ 1885203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32471 w 4812486"/>
              <a:gd name="connsiteY6" fmla="*/ 1885203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91304 w 4812486"/>
              <a:gd name="connsiteY4" fmla="*/ 1132656 h 2637890"/>
              <a:gd name="connsiteX5" fmla="*/ 4145841 w 4812486"/>
              <a:gd name="connsiteY5" fmla="*/ 1883606 h 2637890"/>
              <a:gd name="connsiteX6" fmla="*/ 3632471 w 4812486"/>
              <a:gd name="connsiteY6" fmla="*/ 1885203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45841 w 4812486"/>
              <a:gd name="connsiteY5" fmla="*/ 1883606 h 2637890"/>
              <a:gd name="connsiteX6" fmla="*/ 3632471 w 4812486"/>
              <a:gd name="connsiteY6" fmla="*/ 1885203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45841 w 4812486"/>
              <a:gd name="connsiteY5" fmla="*/ 1883606 h 2637890"/>
              <a:gd name="connsiteX6" fmla="*/ 3632471 w 4812486"/>
              <a:gd name="connsiteY6" fmla="*/ 1885203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45841 w 4812486"/>
              <a:gd name="connsiteY5" fmla="*/ 1883606 h 2637890"/>
              <a:gd name="connsiteX6" fmla="*/ 3632471 w 4812486"/>
              <a:gd name="connsiteY6" fmla="*/ 1885203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19956 w 4812486"/>
              <a:gd name="connsiteY5" fmla="*/ 1859647 h 2637890"/>
              <a:gd name="connsiteX6" fmla="*/ 3632471 w 4812486"/>
              <a:gd name="connsiteY6" fmla="*/ 1885203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083719 w 4812486"/>
              <a:gd name="connsiteY5" fmla="*/ 1854856 h 2637890"/>
              <a:gd name="connsiteX6" fmla="*/ 3632471 w 4812486"/>
              <a:gd name="connsiteY6" fmla="*/ 1885203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083719 w 4812486"/>
              <a:gd name="connsiteY5" fmla="*/ 1854856 h 2637890"/>
              <a:gd name="connsiteX6" fmla="*/ 3632471 w 4812486"/>
              <a:gd name="connsiteY6" fmla="*/ 1885203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083719 w 4812486"/>
              <a:gd name="connsiteY5" fmla="*/ 1854856 h 2637890"/>
              <a:gd name="connsiteX6" fmla="*/ 3632471 w 4812486"/>
              <a:gd name="connsiteY6" fmla="*/ 1885203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07014 w 4812486"/>
              <a:gd name="connsiteY5" fmla="*/ 1893189 h 2637890"/>
              <a:gd name="connsiteX6" fmla="*/ 3632471 w 4812486"/>
              <a:gd name="connsiteY6" fmla="*/ 1885203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07014 w 4812486"/>
              <a:gd name="connsiteY5" fmla="*/ 1893189 h 2637890"/>
              <a:gd name="connsiteX6" fmla="*/ 3632471 w 4812486"/>
              <a:gd name="connsiteY6" fmla="*/ 1885203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07014 w 4812486"/>
              <a:gd name="connsiteY5" fmla="*/ 1893189 h 2637890"/>
              <a:gd name="connsiteX6" fmla="*/ 3632471 w 4812486"/>
              <a:gd name="connsiteY6" fmla="*/ 1885203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07014 w 4812486"/>
              <a:gd name="connsiteY5" fmla="*/ 1893189 h 2637890"/>
              <a:gd name="connsiteX6" fmla="*/ 3632471 w 4812486"/>
              <a:gd name="connsiteY6" fmla="*/ 1894787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07014 w 4812486"/>
              <a:gd name="connsiteY5" fmla="*/ 1893189 h 2637890"/>
              <a:gd name="connsiteX6" fmla="*/ 3632471 w 4812486"/>
              <a:gd name="connsiteY6" fmla="*/ 1894787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07014 w 4812486"/>
              <a:gd name="connsiteY5" fmla="*/ 1893189 h 2637890"/>
              <a:gd name="connsiteX6" fmla="*/ 3632471 w 4812486"/>
              <a:gd name="connsiteY6" fmla="*/ 1894787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07014 w 4812486"/>
              <a:gd name="connsiteY5" fmla="*/ 1893189 h 2637890"/>
              <a:gd name="connsiteX6" fmla="*/ 3632471 w 4812486"/>
              <a:gd name="connsiteY6" fmla="*/ 1894787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07014 w 4812486"/>
              <a:gd name="connsiteY5" fmla="*/ 1893189 h 2637890"/>
              <a:gd name="connsiteX6" fmla="*/ 3632471 w 4812486"/>
              <a:gd name="connsiteY6" fmla="*/ 1894787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07014 w 4812486"/>
              <a:gd name="connsiteY5" fmla="*/ 1893189 h 2637890"/>
              <a:gd name="connsiteX6" fmla="*/ 3632471 w 4812486"/>
              <a:gd name="connsiteY6" fmla="*/ 1894787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17368 w 4812486"/>
              <a:gd name="connsiteY5" fmla="*/ 1893189 h 2637890"/>
              <a:gd name="connsiteX6" fmla="*/ 3632471 w 4812486"/>
              <a:gd name="connsiteY6" fmla="*/ 1894787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17368 w 4812486"/>
              <a:gd name="connsiteY5" fmla="*/ 1893189 h 2637890"/>
              <a:gd name="connsiteX6" fmla="*/ 3632471 w 4812486"/>
              <a:gd name="connsiteY6" fmla="*/ 1894787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11330 w 4812486"/>
              <a:gd name="connsiteY5" fmla="*/ 1243117 h 2637890"/>
              <a:gd name="connsiteX6" fmla="*/ 4117368 w 4812486"/>
              <a:gd name="connsiteY6" fmla="*/ 1893189 h 2637890"/>
              <a:gd name="connsiteX7" fmla="*/ 3632471 w 4812486"/>
              <a:gd name="connsiteY7" fmla="*/ 1894787 h 2637890"/>
              <a:gd name="connsiteX8" fmla="*/ 3433162 w 4812486"/>
              <a:gd name="connsiteY8" fmla="*/ 1981834 h 2637890"/>
              <a:gd name="connsiteX9" fmla="*/ 3414825 w 4812486"/>
              <a:gd name="connsiteY9" fmla="*/ 2632468 h 2637890"/>
              <a:gd name="connsiteX10" fmla="*/ 3452 w 4812486"/>
              <a:gd name="connsiteY10"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11330 w 4812486"/>
              <a:gd name="connsiteY5" fmla="*/ 1243117 h 2637890"/>
              <a:gd name="connsiteX6" fmla="*/ 4117368 w 4812486"/>
              <a:gd name="connsiteY6" fmla="*/ 1893189 h 2637890"/>
              <a:gd name="connsiteX7" fmla="*/ 3632471 w 4812486"/>
              <a:gd name="connsiteY7" fmla="*/ 1894787 h 2637890"/>
              <a:gd name="connsiteX8" fmla="*/ 3433162 w 4812486"/>
              <a:gd name="connsiteY8" fmla="*/ 1981834 h 2637890"/>
              <a:gd name="connsiteX9" fmla="*/ 3414825 w 4812486"/>
              <a:gd name="connsiteY9" fmla="*/ 2632468 h 2637890"/>
              <a:gd name="connsiteX10" fmla="*/ 3452 w 4812486"/>
              <a:gd name="connsiteY10"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11330 w 4812486"/>
              <a:gd name="connsiteY5" fmla="*/ 1243117 h 2637890"/>
              <a:gd name="connsiteX6" fmla="*/ 4117368 w 4812486"/>
              <a:gd name="connsiteY6" fmla="*/ 1893189 h 2637890"/>
              <a:gd name="connsiteX7" fmla="*/ 3632471 w 4812486"/>
              <a:gd name="connsiteY7" fmla="*/ 1894787 h 2637890"/>
              <a:gd name="connsiteX8" fmla="*/ 3433162 w 4812486"/>
              <a:gd name="connsiteY8" fmla="*/ 1981834 h 2637890"/>
              <a:gd name="connsiteX9" fmla="*/ 3414825 w 4812486"/>
              <a:gd name="connsiteY9" fmla="*/ 2632468 h 2637890"/>
              <a:gd name="connsiteX10" fmla="*/ 3452 w 4812486"/>
              <a:gd name="connsiteY10"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6 w 4812486"/>
              <a:gd name="connsiteY4" fmla="*/ 1127864 h 2637890"/>
              <a:gd name="connsiteX5" fmla="*/ 4111330 w 4812486"/>
              <a:gd name="connsiteY5" fmla="*/ 1243117 h 2637890"/>
              <a:gd name="connsiteX6" fmla="*/ 4117368 w 4812486"/>
              <a:gd name="connsiteY6" fmla="*/ 1893189 h 2637890"/>
              <a:gd name="connsiteX7" fmla="*/ 3632471 w 4812486"/>
              <a:gd name="connsiteY7" fmla="*/ 1894787 h 2637890"/>
              <a:gd name="connsiteX8" fmla="*/ 3433162 w 4812486"/>
              <a:gd name="connsiteY8" fmla="*/ 1981834 h 2637890"/>
              <a:gd name="connsiteX9" fmla="*/ 3414825 w 4812486"/>
              <a:gd name="connsiteY9" fmla="*/ 2632468 h 2637890"/>
              <a:gd name="connsiteX10" fmla="*/ 3452 w 4812486"/>
              <a:gd name="connsiteY10"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5774 w 4812486"/>
              <a:gd name="connsiteY4" fmla="*/ 1127864 h 2637890"/>
              <a:gd name="connsiteX5" fmla="*/ 4111330 w 4812486"/>
              <a:gd name="connsiteY5" fmla="*/ 1243117 h 2637890"/>
              <a:gd name="connsiteX6" fmla="*/ 4117368 w 4812486"/>
              <a:gd name="connsiteY6" fmla="*/ 1893189 h 2637890"/>
              <a:gd name="connsiteX7" fmla="*/ 3632471 w 4812486"/>
              <a:gd name="connsiteY7" fmla="*/ 1894787 h 2637890"/>
              <a:gd name="connsiteX8" fmla="*/ 3433162 w 4812486"/>
              <a:gd name="connsiteY8" fmla="*/ 1981834 h 2637890"/>
              <a:gd name="connsiteX9" fmla="*/ 3414825 w 4812486"/>
              <a:gd name="connsiteY9" fmla="*/ 2632468 h 2637890"/>
              <a:gd name="connsiteX10" fmla="*/ 3452 w 4812486"/>
              <a:gd name="connsiteY10"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5774 w 4812486"/>
              <a:gd name="connsiteY4" fmla="*/ 1127864 h 2637890"/>
              <a:gd name="connsiteX5" fmla="*/ 4116507 w 4812486"/>
              <a:gd name="connsiteY5" fmla="*/ 1204783 h 2637890"/>
              <a:gd name="connsiteX6" fmla="*/ 4117368 w 4812486"/>
              <a:gd name="connsiteY6" fmla="*/ 1893189 h 2637890"/>
              <a:gd name="connsiteX7" fmla="*/ 3632471 w 4812486"/>
              <a:gd name="connsiteY7" fmla="*/ 1894787 h 2637890"/>
              <a:gd name="connsiteX8" fmla="*/ 3433162 w 4812486"/>
              <a:gd name="connsiteY8" fmla="*/ 1981834 h 2637890"/>
              <a:gd name="connsiteX9" fmla="*/ 3414825 w 4812486"/>
              <a:gd name="connsiteY9" fmla="*/ 2632468 h 2637890"/>
              <a:gd name="connsiteX10" fmla="*/ 3452 w 4812486"/>
              <a:gd name="connsiteY10"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5774 w 4812486"/>
              <a:gd name="connsiteY4" fmla="*/ 1127864 h 2637890"/>
              <a:gd name="connsiteX5" fmla="*/ 4121684 w 4812486"/>
              <a:gd name="connsiteY5" fmla="*/ 1228742 h 2637890"/>
              <a:gd name="connsiteX6" fmla="*/ 4117368 w 4812486"/>
              <a:gd name="connsiteY6" fmla="*/ 1893189 h 2637890"/>
              <a:gd name="connsiteX7" fmla="*/ 3632471 w 4812486"/>
              <a:gd name="connsiteY7" fmla="*/ 1894787 h 2637890"/>
              <a:gd name="connsiteX8" fmla="*/ 3433162 w 4812486"/>
              <a:gd name="connsiteY8" fmla="*/ 1981834 h 2637890"/>
              <a:gd name="connsiteX9" fmla="*/ 3414825 w 4812486"/>
              <a:gd name="connsiteY9" fmla="*/ 2632468 h 2637890"/>
              <a:gd name="connsiteX10" fmla="*/ 3452 w 4812486"/>
              <a:gd name="connsiteY10"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7 w 4812486"/>
              <a:gd name="connsiteY4" fmla="*/ 1137447 h 2637890"/>
              <a:gd name="connsiteX5" fmla="*/ 4121684 w 4812486"/>
              <a:gd name="connsiteY5" fmla="*/ 1228742 h 2637890"/>
              <a:gd name="connsiteX6" fmla="*/ 4117368 w 4812486"/>
              <a:gd name="connsiteY6" fmla="*/ 1893189 h 2637890"/>
              <a:gd name="connsiteX7" fmla="*/ 3632471 w 4812486"/>
              <a:gd name="connsiteY7" fmla="*/ 1894787 h 2637890"/>
              <a:gd name="connsiteX8" fmla="*/ 3433162 w 4812486"/>
              <a:gd name="connsiteY8" fmla="*/ 1981834 h 2637890"/>
              <a:gd name="connsiteX9" fmla="*/ 3414825 w 4812486"/>
              <a:gd name="connsiteY9" fmla="*/ 2632468 h 2637890"/>
              <a:gd name="connsiteX10" fmla="*/ 3452 w 4812486"/>
              <a:gd name="connsiteY10"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70597 w 4812486"/>
              <a:gd name="connsiteY4" fmla="*/ 1137447 h 2637890"/>
              <a:gd name="connsiteX5" fmla="*/ 4121684 w 4812486"/>
              <a:gd name="connsiteY5" fmla="*/ 1228742 h 2637890"/>
              <a:gd name="connsiteX6" fmla="*/ 4117368 w 4812486"/>
              <a:gd name="connsiteY6" fmla="*/ 1893189 h 2637890"/>
              <a:gd name="connsiteX7" fmla="*/ 3632471 w 4812486"/>
              <a:gd name="connsiteY7" fmla="*/ 1894787 h 2637890"/>
              <a:gd name="connsiteX8" fmla="*/ 3433162 w 4812486"/>
              <a:gd name="connsiteY8" fmla="*/ 1981834 h 2637890"/>
              <a:gd name="connsiteX9" fmla="*/ 3414825 w 4812486"/>
              <a:gd name="connsiteY9" fmla="*/ 2632468 h 2637890"/>
              <a:gd name="connsiteX10" fmla="*/ 3452 w 4812486"/>
              <a:gd name="connsiteY10"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21684 w 4812486"/>
              <a:gd name="connsiteY4" fmla="*/ 1228742 h 2637890"/>
              <a:gd name="connsiteX5" fmla="*/ 4117368 w 4812486"/>
              <a:gd name="connsiteY5" fmla="*/ 1893189 h 2637890"/>
              <a:gd name="connsiteX6" fmla="*/ 3632471 w 4812486"/>
              <a:gd name="connsiteY6" fmla="*/ 1894787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21684 w 4812486"/>
              <a:gd name="connsiteY4" fmla="*/ 1228742 h 2637890"/>
              <a:gd name="connsiteX5" fmla="*/ 4117368 w 4812486"/>
              <a:gd name="connsiteY5" fmla="*/ 1893189 h 2637890"/>
              <a:gd name="connsiteX6" fmla="*/ 3632471 w 4812486"/>
              <a:gd name="connsiteY6" fmla="*/ 1894787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21684 w 4812486"/>
              <a:gd name="connsiteY4" fmla="*/ 1228742 h 2637890"/>
              <a:gd name="connsiteX5" fmla="*/ 4117368 w 4812486"/>
              <a:gd name="connsiteY5" fmla="*/ 1893189 h 2637890"/>
              <a:gd name="connsiteX6" fmla="*/ 3632471 w 4812486"/>
              <a:gd name="connsiteY6" fmla="*/ 1894787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21684 w 4812486"/>
              <a:gd name="connsiteY4" fmla="*/ 1228742 h 2637890"/>
              <a:gd name="connsiteX5" fmla="*/ 4117368 w 4812486"/>
              <a:gd name="connsiteY5" fmla="*/ 1893189 h 2637890"/>
              <a:gd name="connsiteX6" fmla="*/ 3632471 w 4812486"/>
              <a:gd name="connsiteY6" fmla="*/ 1894787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21684 w 4812486"/>
              <a:gd name="connsiteY4" fmla="*/ 1228742 h 2637890"/>
              <a:gd name="connsiteX5" fmla="*/ 4117368 w 4812486"/>
              <a:gd name="connsiteY5" fmla="*/ 1893189 h 2637890"/>
              <a:gd name="connsiteX6" fmla="*/ 3632471 w 4812486"/>
              <a:gd name="connsiteY6" fmla="*/ 1894787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12486"/>
              <a:gd name="connsiteY0" fmla="*/ 2629413 h 2637890"/>
              <a:gd name="connsiteX1" fmla="*/ 390 w 4812486"/>
              <a:gd name="connsiteY1" fmla="*/ 9642 h 2637890"/>
              <a:gd name="connsiteX2" fmla="*/ 4807501 w 4812486"/>
              <a:gd name="connsiteY2" fmla="*/ 0 h 2637890"/>
              <a:gd name="connsiteX3" fmla="*/ 4812486 w 4812486"/>
              <a:gd name="connsiteY3" fmla="*/ 1110350 h 2637890"/>
              <a:gd name="connsiteX4" fmla="*/ 4121684 w 4812486"/>
              <a:gd name="connsiteY4" fmla="*/ 1228742 h 2637890"/>
              <a:gd name="connsiteX5" fmla="*/ 4117368 w 4812486"/>
              <a:gd name="connsiteY5" fmla="*/ 1893189 h 2637890"/>
              <a:gd name="connsiteX6" fmla="*/ 3632471 w 4812486"/>
              <a:gd name="connsiteY6" fmla="*/ 1894787 h 2637890"/>
              <a:gd name="connsiteX7" fmla="*/ 3433162 w 4812486"/>
              <a:gd name="connsiteY7" fmla="*/ 1981834 h 2637890"/>
              <a:gd name="connsiteX8" fmla="*/ 3414825 w 4812486"/>
              <a:gd name="connsiteY8" fmla="*/ 2632468 h 2637890"/>
              <a:gd name="connsiteX9" fmla="*/ 3452 w 4812486"/>
              <a:gd name="connsiteY9" fmla="*/ 2629413 h 2637890"/>
              <a:gd name="connsiteX0" fmla="*/ 3452 w 4808090"/>
              <a:gd name="connsiteY0" fmla="*/ 2629413 h 2637890"/>
              <a:gd name="connsiteX1" fmla="*/ 390 w 4808090"/>
              <a:gd name="connsiteY1" fmla="*/ 9642 h 2637890"/>
              <a:gd name="connsiteX2" fmla="*/ 4807501 w 4808090"/>
              <a:gd name="connsiteY2" fmla="*/ 0 h 2637890"/>
              <a:gd name="connsiteX3" fmla="*/ 4807309 w 4808090"/>
              <a:gd name="connsiteY3" fmla="*/ 1105558 h 2637890"/>
              <a:gd name="connsiteX4" fmla="*/ 4121684 w 4808090"/>
              <a:gd name="connsiteY4" fmla="*/ 1228742 h 2637890"/>
              <a:gd name="connsiteX5" fmla="*/ 4117368 w 4808090"/>
              <a:gd name="connsiteY5" fmla="*/ 1893189 h 2637890"/>
              <a:gd name="connsiteX6" fmla="*/ 3632471 w 4808090"/>
              <a:gd name="connsiteY6" fmla="*/ 1894787 h 2637890"/>
              <a:gd name="connsiteX7" fmla="*/ 3433162 w 4808090"/>
              <a:gd name="connsiteY7" fmla="*/ 1981834 h 2637890"/>
              <a:gd name="connsiteX8" fmla="*/ 3414825 w 4808090"/>
              <a:gd name="connsiteY8" fmla="*/ 2632468 h 2637890"/>
              <a:gd name="connsiteX9" fmla="*/ 3452 w 4808090"/>
              <a:gd name="connsiteY9" fmla="*/ 2629413 h 2637890"/>
              <a:gd name="connsiteX0" fmla="*/ 3452 w 4807807"/>
              <a:gd name="connsiteY0" fmla="*/ 2629413 h 2637890"/>
              <a:gd name="connsiteX1" fmla="*/ 390 w 4807807"/>
              <a:gd name="connsiteY1" fmla="*/ 9642 h 2637890"/>
              <a:gd name="connsiteX2" fmla="*/ 4807501 w 4807807"/>
              <a:gd name="connsiteY2" fmla="*/ 0 h 2637890"/>
              <a:gd name="connsiteX3" fmla="*/ 4802133 w 4807807"/>
              <a:gd name="connsiteY3" fmla="*/ 1100767 h 2637890"/>
              <a:gd name="connsiteX4" fmla="*/ 4121684 w 4807807"/>
              <a:gd name="connsiteY4" fmla="*/ 1228742 h 2637890"/>
              <a:gd name="connsiteX5" fmla="*/ 4117368 w 4807807"/>
              <a:gd name="connsiteY5" fmla="*/ 1893189 h 2637890"/>
              <a:gd name="connsiteX6" fmla="*/ 3632471 w 4807807"/>
              <a:gd name="connsiteY6" fmla="*/ 1894787 h 2637890"/>
              <a:gd name="connsiteX7" fmla="*/ 3433162 w 4807807"/>
              <a:gd name="connsiteY7" fmla="*/ 1981834 h 2637890"/>
              <a:gd name="connsiteX8" fmla="*/ 3414825 w 4807807"/>
              <a:gd name="connsiteY8" fmla="*/ 2632468 h 2637890"/>
              <a:gd name="connsiteX9" fmla="*/ 3452 w 4807807"/>
              <a:gd name="connsiteY9" fmla="*/ 2629413 h 2637890"/>
              <a:gd name="connsiteX0" fmla="*/ 3452 w 4807807"/>
              <a:gd name="connsiteY0" fmla="*/ 2629413 h 2637890"/>
              <a:gd name="connsiteX1" fmla="*/ 390 w 4807807"/>
              <a:gd name="connsiteY1" fmla="*/ 9642 h 2637890"/>
              <a:gd name="connsiteX2" fmla="*/ 4807501 w 4807807"/>
              <a:gd name="connsiteY2" fmla="*/ 0 h 2637890"/>
              <a:gd name="connsiteX3" fmla="*/ 4802133 w 4807807"/>
              <a:gd name="connsiteY3" fmla="*/ 1100767 h 2637890"/>
              <a:gd name="connsiteX4" fmla="*/ 4111330 w 4807807"/>
              <a:gd name="connsiteY4" fmla="*/ 1166451 h 2637890"/>
              <a:gd name="connsiteX5" fmla="*/ 4117368 w 4807807"/>
              <a:gd name="connsiteY5" fmla="*/ 1893189 h 2637890"/>
              <a:gd name="connsiteX6" fmla="*/ 3632471 w 4807807"/>
              <a:gd name="connsiteY6" fmla="*/ 1894787 h 2637890"/>
              <a:gd name="connsiteX7" fmla="*/ 3433162 w 4807807"/>
              <a:gd name="connsiteY7" fmla="*/ 1981834 h 2637890"/>
              <a:gd name="connsiteX8" fmla="*/ 3414825 w 4807807"/>
              <a:gd name="connsiteY8" fmla="*/ 2632468 h 2637890"/>
              <a:gd name="connsiteX9" fmla="*/ 3452 w 4807807"/>
              <a:gd name="connsiteY9" fmla="*/ 2629413 h 2637890"/>
              <a:gd name="connsiteX0" fmla="*/ 3452 w 4807807"/>
              <a:gd name="connsiteY0" fmla="*/ 2629413 h 2637890"/>
              <a:gd name="connsiteX1" fmla="*/ 390 w 4807807"/>
              <a:gd name="connsiteY1" fmla="*/ 9642 h 2637890"/>
              <a:gd name="connsiteX2" fmla="*/ 4807501 w 4807807"/>
              <a:gd name="connsiteY2" fmla="*/ 0 h 2637890"/>
              <a:gd name="connsiteX3" fmla="*/ 4802133 w 4807807"/>
              <a:gd name="connsiteY3" fmla="*/ 1100767 h 2637890"/>
              <a:gd name="connsiteX4" fmla="*/ 4111330 w 4807807"/>
              <a:gd name="connsiteY4" fmla="*/ 1166451 h 2637890"/>
              <a:gd name="connsiteX5" fmla="*/ 4117368 w 4807807"/>
              <a:gd name="connsiteY5" fmla="*/ 1893189 h 2637890"/>
              <a:gd name="connsiteX6" fmla="*/ 3632471 w 4807807"/>
              <a:gd name="connsiteY6" fmla="*/ 1894787 h 2637890"/>
              <a:gd name="connsiteX7" fmla="*/ 3433162 w 4807807"/>
              <a:gd name="connsiteY7" fmla="*/ 1981834 h 2637890"/>
              <a:gd name="connsiteX8" fmla="*/ 3414825 w 4807807"/>
              <a:gd name="connsiteY8" fmla="*/ 2632468 h 2637890"/>
              <a:gd name="connsiteX9" fmla="*/ 3452 w 4807807"/>
              <a:gd name="connsiteY9" fmla="*/ 2629413 h 2637890"/>
              <a:gd name="connsiteX0" fmla="*/ 3452 w 4807807"/>
              <a:gd name="connsiteY0" fmla="*/ 2629413 h 2637890"/>
              <a:gd name="connsiteX1" fmla="*/ 390 w 4807807"/>
              <a:gd name="connsiteY1" fmla="*/ 9642 h 2637890"/>
              <a:gd name="connsiteX2" fmla="*/ 4807501 w 4807807"/>
              <a:gd name="connsiteY2" fmla="*/ 0 h 2637890"/>
              <a:gd name="connsiteX3" fmla="*/ 4802133 w 4807807"/>
              <a:gd name="connsiteY3" fmla="*/ 1100767 h 2637890"/>
              <a:gd name="connsiteX4" fmla="*/ 4142391 w 4807807"/>
              <a:gd name="connsiteY4" fmla="*/ 1171242 h 2637890"/>
              <a:gd name="connsiteX5" fmla="*/ 4117368 w 4807807"/>
              <a:gd name="connsiteY5" fmla="*/ 1893189 h 2637890"/>
              <a:gd name="connsiteX6" fmla="*/ 3632471 w 4807807"/>
              <a:gd name="connsiteY6" fmla="*/ 1894787 h 2637890"/>
              <a:gd name="connsiteX7" fmla="*/ 3433162 w 4807807"/>
              <a:gd name="connsiteY7" fmla="*/ 1981834 h 2637890"/>
              <a:gd name="connsiteX8" fmla="*/ 3414825 w 4807807"/>
              <a:gd name="connsiteY8" fmla="*/ 2632468 h 2637890"/>
              <a:gd name="connsiteX9" fmla="*/ 3452 w 4807807"/>
              <a:gd name="connsiteY9" fmla="*/ 2629413 h 2637890"/>
              <a:gd name="connsiteX0" fmla="*/ 3452 w 4807807"/>
              <a:gd name="connsiteY0" fmla="*/ 2629413 h 2637890"/>
              <a:gd name="connsiteX1" fmla="*/ 390 w 4807807"/>
              <a:gd name="connsiteY1" fmla="*/ 9642 h 2637890"/>
              <a:gd name="connsiteX2" fmla="*/ 4807501 w 4807807"/>
              <a:gd name="connsiteY2" fmla="*/ 0 h 2637890"/>
              <a:gd name="connsiteX3" fmla="*/ 4802133 w 4807807"/>
              <a:gd name="connsiteY3" fmla="*/ 1100767 h 2637890"/>
              <a:gd name="connsiteX4" fmla="*/ 4142391 w 4807807"/>
              <a:gd name="connsiteY4" fmla="*/ 1171242 h 2637890"/>
              <a:gd name="connsiteX5" fmla="*/ 4117368 w 4807807"/>
              <a:gd name="connsiteY5" fmla="*/ 1893189 h 2637890"/>
              <a:gd name="connsiteX6" fmla="*/ 3632471 w 4807807"/>
              <a:gd name="connsiteY6" fmla="*/ 1894787 h 2637890"/>
              <a:gd name="connsiteX7" fmla="*/ 3433162 w 4807807"/>
              <a:gd name="connsiteY7" fmla="*/ 1981834 h 2637890"/>
              <a:gd name="connsiteX8" fmla="*/ 3414825 w 4807807"/>
              <a:gd name="connsiteY8" fmla="*/ 2632468 h 2637890"/>
              <a:gd name="connsiteX9" fmla="*/ 3452 w 4807807"/>
              <a:gd name="connsiteY9" fmla="*/ 2629413 h 2637890"/>
              <a:gd name="connsiteX0" fmla="*/ 3452 w 4807807"/>
              <a:gd name="connsiteY0" fmla="*/ 2629413 h 2637890"/>
              <a:gd name="connsiteX1" fmla="*/ 390 w 4807807"/>
              <a:gd name="connsiteY1" fmla="*/ 9642 h 2637890"/>
              <a:gd name="connsiteX2" fmla="*/ 4807501 w 4807807"/>
              <a:gd name="connsiteY2" fmla="*/ 0 h 2637890"/>
              <a:gd name="connsiteX3" fmla="*/ 4802133 w 4807807"/>
              <a:gd name="connsiteY3" fmla="*/ 1100767 h 2637890"/>
              <a:gd name="connsiteX4" fmla="*/ 4142391 w 4807807"/>
              <a:gd name="connsiteY4" fmla="*/ 1171242 h 2637890"/>
              <a:gd name="connsiteX5" fmla="*/ 4127722 w 4807807"/>
              <a:gd name="connsiteY5" fmla="*/ 1888397 h 2637890"/>
              <a:gd name="connsiteX6" fmla="*/ 3632471 w 4807807"/>
              <a:gd name="connsiteY6" fmla="*/ 1894787 h 2637890"/>
              <a:gd name="connsiteX7" fmla="*/ 3433162 w 4807807"/>
              <a:gd name="connsiteY7" fmla="*/ 1981834 h 2637890"/>
              <a:gd name="connsiteX8" fmla="*/ 3414825 w 4807807"/>
              <a:gd name="connsiteY8" fmla="*/ 2632468 h 2637890"/>
              <a:gd name="connsiteX9" fmla="*/ 3452 w 4807807"/>
              <a:gd name="connsiteY9" fmla="*/ 2629413 h 2637890"/>
              <a:gd name="connsiteX0" fmla="*/ 3452 w 4807807"/>
              <a:gd name="connsiteY0" fmla="*/ 2629413 h 2637890"/>
              <a:gd name="connsiteX1" fmla="*/ 390 w 4807807"/>
              <a:gd name="connsiteY1" fmla="*/ 9642 h 2637890"/>
              <a:gd name="connsiteX2" fmla="*/ 4807501 w 4807807"/>
              <a:gd name="connsiteY2" fmla="*/ 0 h 2637890"/>
              <a:gd name="connsiteX3" fmla="*/ 4802133 w 4807807"/>
              <a:gd name="connsiteY3" fmla="*/ 1100767 h 2637890"/>
              <a:gd name="connsiteX4" fmla="*/ 4142391 w 4807807"/>
              <a:gd name="connsiteY4" fmla="*/ 1171242 h 2637890"/>
              <a:gd name="connsiteX5" fmla="*/ 4127722 w 4807807"/>
              <a:gd name="connsiteY5" fmla="*/ 1888397 h 2637890"/>
              <a:gd name="connsiteX6" fmla="*/ 3632471 w 4807807"/>
              <a:gd name="connsiteY6" fmla="*/ 1894787 h 2637890"/>
              <a:gd name="connsiteX7" fmla="*/ 3433162 w 4807807"/>
              <a:gd name="connsiteY7" fmla="*/ 1981834 h 2637890"/>
              <a:gd name="connsiteX8" fmla="*/ 3414825 w 4807807"/>
              <a:gd name="connsiteY8" fmla="*/ 2632468 h 2637890"/>
              <a:gd name="connsiteX9" fmla="*/ 3452 w 4807807"/>
              <a:gd name="connsiteY9" fmla="*/ 2629413 h 2637890"/>
              <a:gd name="connsiteX0" fmla="*/ 3452 w 4807807"/>
              <a:gd name="connsiteY0" fmla="*/ 2629413 h 2637890"/>
              <a:gd name="connsiteX1" fmla="*/ 390 w 4807807"/>
              <a:gd name="connsiteY1" fmla="*/ 9642 h 2637890"/>
              <a:gd name="connsiteX2" fmla="*/ 4807501 w 4807807"/>
              <a:gd name="connsiteY2" fmla="*/ 0 h 2637890"/>
              <a:gd name="connsiteX3" fmla="*/ 4802133 w 4807807"/>
              <a:gd name="connsiteY3" fmla="*/ 1100767 h 2637890"/>
              <a:gd name="connsiteX4" fmla="*/ 4142391 w 4807807"/>
              <a:gd name="connsiteY4" fmla="*/ 1171242 h 2637890"/>
              <a:gd name="connsiteX5" fmla="*/ 4127722 w 4807807"/>
              <a:gd name="connsiteY5" fmla="*/ 1888397 h 2637890"/>
              <a:gd name="connsiteX6" fmla="*/ 3632471 w 4807807"/>
              <a:gd name="connsiteY6" fmla="*/ 1894787 h 2637890"/>
              <a:gd name="connsiteX7" fmla="*/ 3433162 w 4807807"/>
              <a:gd name="connsiteY7" fmla="*/ 1981834 h 2637890"/>
              <a:gd name="connsiteX8" fmla="*/ 3414825 w 4807807"/>
              <a:gd name="connsiteY8" fmla="*/ 2632468 h 2637890"/>
              <a:gd name="connsiteX9" fmla="*/ 3452 w 4807807"/>
              <a:gd name="connsiteY9" fmla="*/ 2629413 h 2637890"/>
              <a:gd name="connsiteX0" fmla="*/ 3452 w 4807807"/>
              <a:gd name="connsiteY0" fmla="*/ 2629413 h 2637890"/>
              <a:gd name="connsiteX1" fmla="*/ 390 w 4807807"/>
              <a:gd name="connsiteY1" fmla="*/ 9642 h 2637890"/>
              <a:gd name="connsiteX2" fmla="*/ 4807501 w 4807807"/>
              <a:gd name="connsiteY2" fmla="*/ 0 h 2637890"/>
              <a:gd name="connsiteX3" fmla="*/ 4802133 w 4807807"/>
              <a:gd name="connsiteY3" fmla="*/ 1100767 h 2637890"/>
              <a:gd name="connsiteX4" fmla="*/ 4152745 w 4807807"/>
              <a:gd name="connsiteY4" fmla="*/ 1147284 h 2637890"/>
              <a:gd name="connsiteX5" fmla="*/ 4127722 w 4807807"/>
              <a:gd name="connsiteY5" fmla="*/ 1888397 h 2637890"/>
              <a:gd name="connsiteX6" fmla="*/ 3632471 w 4807807"/>
              <a:gd name="connsiteY6" fmla="*/ 1894787 h 2637890"/>
              <a:gd name="connsiteX7" fmla="*/ 3433162 w 4807807"/>
              <a:gd name="connsiteY7" fmla="*/ 1981834 h 2637890"/>
              <a:gd name="connsiteX8" fmla="*/ 3414825 w 4807807"/>
              <a:gd name="connsiteY8" fmla="*/ 2632468 h 2637890"/>
              <a:gd name="connsiteX9" fmla="*/ 3452 w 4807807"/>
              <a:gd name="connsiteY9" fmla="*/ 2629413 h 2637890"/>
              <a:gd name="connsiteX0" fmla="*/ 3452 w 4807807"/>
              <a:gd name="connsiteY0" fmla="*/ 2629413 h 2637890"/>
              <a:gd name="connsiteX1" fmla="*/ 390 w 4807807"/>
              <a:gd name="connsiteY1" fmla="*/ 9642 h 2637890"/>
              <a:gd name="connsiteX2" fmla="*/ 4807501 w 4807807"/>
              <a:gd name="connsiteY2" fmla="*/ 0 h 2637890"/>
              <a:gd name="connsiteX3" fmla="*/ 4802133 w 4807807"/>
              <a:gd name="connsiteY3" fmla="*/ 1100767 h 2637890"/>
              <a:gd name="connsiteX4" fmla="*/ 4152745 w 4807807"/>
              <a:gd name="connsiteY4" fmla="*/ 1147284 h 2637890"/>
              <a:gd name="connsiteX5" fmla="*/ 4127722 w 4807807"/>
              <a:gd name="connsiteY5" fmla="*/ 1888397 h 2637890"/>
              <a:gd name="connsiteX6" fmla="*/ 3632471 w 4807807"/>
              <a:gd name="connsiteY6" fmla="*/ 1894787 h 2637890"/>
              <a:gd name="connsiteX7" fmla="*/ 3433162 w 4807807"/>
              <a:gd name="connsiteY7" fmla="*/ 1981834 h 2637890"/>
              <a:gd name="connsiteX8" fmla="*/ 3414825 w 4807807"/>
              <a:gd name="connsiteY8" fmla="*/ 2632468 h 2637890"/>
              <a:gd name="connsiteX9" fmla="*/ 3452 w 4807807"/>
              <a:gd name="connsiteY9" fmla="*/ 2629413 h 2637890"/>
              <a:gd name="connsiteX0" fmla="*/ 3452 w 4807807"/>
              <a:gd name="connsiteY0" fmla="*/ 2629413 h 2637890"/>
              <a:gd name="connsiteX1" fmla="*/ 390 w 4807807"/>
              <a:gd name="connsiteY1" fmla="*/ 9642 h 2637890"/>
              <a:gd name="connsiteX2" fmla="*/ 4807501 w 4807807"/>
              <a:gd name="connsiteY2" fmla="*/ 0 h 2637890"/>
              <a:gd name="connsiteX3" fmla="*/ 4802133 w 4807807"/>
              <a:gd name="connsiteY3" fmla="*/ 1100767 h 2637890"/>
              <a:gd name="connsiteX4" fmla="*/ 4152745 w 4807807"/>
              <a:gd name="connsiteY4" fmla="*/ 1147284 h 2637890"/>
              <a:gd name="connsiteX5" fmla="*/ 4127722 w 4807807"/>
              <a:gd name="connsiteY5" fmla="*/ 1888397 h 2637890"/>
              <a:gd name="connsiteX6" fmla="*/ 3632471 w 4807807"/>
              <a:gd name="connsiteY6" fmla="*/ 1894787 h 2637890"/>
              <a:gd name="connsiteX7" fmla="*/ 3433162 w 4807807"/>
              <a:gd name="connsiteY7" fmla="*/ 1981834 h 2637890"/>
              <a:gd name="connsiteX8" fmla="*/ 3414825 w 4807807"/>
              <a:gd name="connsiteY8" fmla="*/ 2632468 h 2637890"/>
              <a:gd name="connsiteX9" fmla="*/ 3452 w 4807807"/>
              <a:gd name="connsiteY9" fmla="*/ 2629413 h 2637890"/>
              <a:gd name="connsiteX0" fmla="*/ 3452 w 4807807"/>
              <a:gd name="connsiteY0" fmla="*/ 2629413 h 2637890"/>
              <a:gd name="connsiteX1" fmla="*/ 390 w 4807807"/>
              <a:gd name="connsiteY1" fmla="*/ 9642 h 2637890"/>
              <a:gd name="connsiteX2" fmla="*/ 4807501 w 4807807"/>
              <a:gd name="connsiteY2" fmla="*/ 0 h 2637890"/>
              <a:gd name="connsiteX3" fmla="*/ 4802133 w 4807807"/>
              <a:gd name="connsiteY3" fmla="*/ 1100767 h 2637890"/>
              <a:gd name="connsiteX4" fmla="*/ 4152745 w 4807807"/>
              <a:gd name="connsiteY4" fmla="*/ 1147284 h 2637890"/>
              <a:gd name="connsiteX5" fmla="*/ 4127722 w 4807807"/>
              <a:gd name="connsiteY5" fmla="*/ 1888397 h 2637890"/>
              <a:gd name="connsiteX6" fmla="*/ 3632471 w 4807807"/>
              <a:gd name="connsiteY6" fmla="*/ 1894787 h 2637890"/>
              <a:gd name="connsiteX7" fmla="*/ 3433162 w 4807807"/>
              <a:gd name="connsiteY7" fmla="*/ 1981834 h 2637890"/>
              <a:gd name="connsiteX8" fmla="*/ 3414825 w 4807807"/>
              <a:gd name="connsiteY8" fmla="*/ 2632468 h 2637890"/>
              <a:gd name="connsiteX9" fmla="*/ 3452 w 4807807"/>
              <a:gd name="connsiteY9" fmla="*/ 2629413 h 2637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7807" h="2637890">
                <a:moveTo>
                  <a:pt x="3452" y="2629413"/>
                </a:moveTo>
                <a:cubicBezTo>
                  <a:pt x="-1246" y="1773758"/>
                  <a:pt x="122" y="438542"/>
                  <a:pt x="390" y="9642"/>
                </a:cubicBezTo>
                <a:lnTo>
                  <a:pt x="4807501" y="0"/>
                </a:lnTo>
                <a:cubicBezTo>
                  <a:pt x="4809618" y="468508"/>
                  <a:pt x="4800016" y="632259"/>
                  <a:pt x="4802133" y="1100767"/>
                </a:cubicBezTo>
                <a:cubicBezTo>
                  <a:pt x="4610179" y="1118682"/>
                  <a:pt x="4175322" y="1071459"/>
                  <a:pt x="4152745" y="1147284"/>
                </a:cubicBezTo>
                <a:cubicBezTo>
                  <a:pt x="4107122" y="1300509"/>
                  <a:pt x="4122114" y="1755827"/>
                  <a:pt x="4127722" y="1888397"/>
                </a:cubicBezTo>
                <a:lnTo>
                  <a:pt x="3632471" y="1894787"/>
                </a:lnTo>
                <a:cubicBezTo>
                  <a:pt x="3501183" y="1893989"/>
                  <a:pt x="3467976" y="1910705"/>
                  <a:pt x="3433162" y="1981834"/>
                </a:cubicBezTo>
                <a:cubicBezTo>
                  <a:pt x="3405076" y="2092880"/>
                  <a:pt x="3413556" y="2321288"/>
                  <a:pt x="3414825" y="2632468"/>
                </a:cubicBezTo>
                <a:cubicBezTo>
                  <a:pt x="2282879" y="2645824"/>
                  <a:pt x="1140576" y="2630431"/>
                  <a:pt x="3452" y="2629413"/>
                </a:cubicBezTo>
                <a:close/>
              </a:path>
            </a:pathLst>
          </a:cu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dirty="0"/>
          </a:p>
        </p:txBody>
      </p:sp>
      <p:sp>
        <p:nvSpPr>
          <p:cNvPr id="6" name="laptop picture">
            <a:extLst>
              <a:ext uri="{FF2B5EF4-FFF2-40B4-BE49-F238E27FC236}">
                <a16:creationId xmlns:a16="http://schemas.microsoft.com/office/drawing/2014/main" id="{4DC4623E-3D89-DDA1-2A17-18BD9E399288}"/>
              </a:ext>
            </a:extLst>
          </p:cNvPr>
          <p:cNvSpPr>
            <a:spLocks noGrp="1"/>
          </p:cNvSpPr>
          <p:nvPr>
            <p:ph type="pic" sz="quarter" idx="24"/>
          </p:nvPr>
        </p:nvSpPr>
        <p:spPr>
          <a:xfrm>
            <a:off x="7711936" y="3083566"/>
            <a:ext cx="3341806" cy="2352355"/>
          </a:xfrm>
          <a:custGeom>
            <a:avLst/>
            <a:gdLst>
              <a:gd name="connsiteX0" fmla="*/ 0 w 3341806"/>
              <a:gd name="connsiteY0" fmla="*/ 63026 h 2344735"/>
              <a:gd name="connsiteX1" fmla="*/ 63026 w 3341806"/>
              <a:gd name="connsiteY1" fmla="*/ 0 h 2344735"/>
              <a:gd name="connsiteX2" fmla="*/ 3278780 w 3341806"/>
              <a:gd name="connsiteY2" fmla="*/ 0 h 2344735"/>
              <a:gd name="connsiteX3" fmla="*/ 3341806 w 3341806"/>
              <a:gd name="connsiteY3" fmla="*/ 63026 h 2344735"/>
              <a:gd name="connsiteX4" fmla="*/ 3341806 w 3341806"/>
              <a:gd name="connsiteY4" fmla="*/ 2281709 h 2344735"/>
              <a:gd name="connsiteX5" fmla="*/ 3278780 w 3341806"/>
              <a:gd name="connsiteY5" fmla="*/ 2344735 h 2344735"/>
              <a:gd name="connsiteX6" fmla="*/ 63026 w 3341806"/>
              <a:gd name="connsiteY6" fmla="*/ 2344735 h 2344735"/>
              <a:gd name="connsiteX7" fmla="*/ 0 w 3341806"/>
              <a:gd name="connsiteY7" fmla="*/ 2281709 h 2344735"/>
              <a:gd name="connsiteX8" fmla="*/ 0 w 3341806"/>
              <a:gd name="connsiteY8" fmla="*/ 63026 h 234473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23046 w 3341806"/>
              <a:gd name="connsiteY6" fmla="*/ 2352355 h 2352355"/>
              <a:gd name="connsiteX7" fmla="*/ 0 w 3341806"/>
              <a:gd name="connsiteY7" fmla="*/ 2281709 h 2352355"/>
              <a:gd name="connsiteX8" fmla="*/ 0 w 3341806"/>
              <a:gd name="connsiteY8"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23046 w 3341806"/>
              <a:gd name="connsiteY6" fmla="*/ 2352355 h 2352355"/>
              <a:gd name="connsiteX7" fmla="*/ 0 w 3341806"/>
              <a:gd name="connsiteY7" fmla="*/ 551969 h 2352355"/>
              <a:gd name="connsiteX8" fmla="*/ 0 w 3341806"/>
              <a:gd name="connsiteY8" fmla="*/ 63026 h 2352355"/>
              <a:gd name="connsiteX0" fmla="*/ 68614 w 3410420"/>
              <a:gd name="connsiteY0" fmla="*/ 63026 h 2352355"/>
              <a:gd name="connsiteX1" fmla="*/ 131640 w 3410420"/>
              <a:gd name="connsiteY1" fmla="*/ 0 h 2352355"/>
              <a:gd name="connsiteX2" fmla="*/ 3347394 w 3410420"/>
              <a:gd name="connsiteY2" fmla="*/ 0 h 2352355"/>
              <a:gd name="connsiteX3" fmla="*/ 3410420 w 3410420"/>
              <a:gd name="connsiteY3" fmla="*/ 63026 h 2352355"/>
              <a:gd name="connsiteX4" fmla="*/ 3410420 w 3410420"/>
              <a:gd name="connsiteY4" fmla="*/ 2281709 h 2352355"/>
              <a:gd name="connsiteX5" fmla="*/ 3347394 w 3410420"/>
              <a:gd name="connsiteY5" fmla="*/ 2344735 h 2352355"/>
              <a:gd name="connsiteX6" fmla="*/ 291660 w 3410420"/>
              <a:gd name="connsiteY6" fmla="*/ 2352355 h 2352355"/>
              <a:gd name="connsiteX7" fmla="*/ 98598 w 3410420"/>
              <a:gd name="connsiteY7" fmla="*/ 833114 h 2352355"/>
              <a:gd name="connsiteX8" fmla="*/ 68614 w 3410420"/>
              <a:gd name="connsiteY8" fmla="*/ 551969 h 2352355"/>
              <a:gd name="connsiteX9" fmla="*/ 68614 w 3410420"/>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23046 w 3341806"/>
              <a:gd name="connsiteY6" fmla="*/ 2352355 h 2352355"/>
              <a:gd name="connsiteX7" fmla="*/ 289064 w 3341806"/>
              <a:gd name="connsiteY7" fmla="*/ 741674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23046 w 3341806"/>
              <a:gd name="connsiteY6" fmla="*/ 2352355 h 2352355"/>
              <a:gd name="connsiteX7" fmla="*/ 289064 w 3341806"/>
              <a:gd name="connsiteY7" fmla="*/ 741674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23046 w 3341806"/>
              <a:gd name="connsiteY6" fmla="*/ 2352355 h 2352355"/>
              <a:gd name="connsiteX7" fmla="*/ 289064 w 3341806"/>
              <a:gd name="connsiteY7" fmla="*/ 741674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23046 w 3341806"/>
              <a:gd name="connsiteY6" fmla="*/ 2352355 h 2352355"/>
              <a:gd name="connsiteX7" fmla="*/ 270014 w 3341806"/>
              <a:gd name="connsiteY7" fmla="*/ 832161 h 2352355"/>
              <a:gd name="connsiteX8" fmla="*/ 0 w 3341806"/>
              <a:gd name="connsiteY8" fmla="*/ 551969 h 2352355"/>
              <a:gd name="connsiteX9" fmla="*/ 0 w 3341806"/>
              <a:gd name="connsiteY9" fmla="*/ 63026 h 2352355"/>
              <a:gd name="connsiteX0" fmla="*/ 7361 w 3349167"/>
              <a:gd name="connsiteY0" fmla="*/ 63026 h 2352356"/>
              <a:gd name="connsiteX1" fmla="*/ 70387 w 3349167"/>
              <a:gd name="connsiteY1" fmla="*/ 0 h 2352356"/>
              <a:gd name="connsiteX2" fmla="*/ 3286141 w 3349167"/>
              <a:gd name="connsiteY2" fmla="*/ 0 h 2352356"/>
              <a:gd name="connsiteX3" fmla="*/ 3349167 w 3349167"/>
              <a:gd name="connsiteY3" fmla="*/ 63026 h 2352356"/>
              <a:gd name="connsiteX4" fmla="*/ 3349167 w 3349167"/>
              <a:gd name="connsiteY4" fmla="*/ 2281709 h 2352356"/>
              <a:gd name="connsiteX5" fmla="*/ 3286141 w 3349167"/>
              <a:gd name="connsiteY5" fmla="*/ 2344735 h 2352356"/>
              <a:gd name="connsiteX6" fmla="*/ 230407 w 3349167"/>
              <a:gd name="connsiteY6" fmla="*/ 2352355 h 2352356"/>
              <a:gd name="connsiteX7" fmla="*/ 277375 w 3349167"/>
              <a:gd name="connsiteY7" fmla="*/ 832161 h 2352356"/>
              <a:gd name="connsiteX8" fmla="*/ 7361 w 3349167"/>
              <a:gd name="connsiteY8" fmla="*/ 551969 h 2352356"/>
              <a:gd name="connsiteX9" fmla="*/ 7361 w 3349167"/>
              <a:gd name="connsiteY9" fmla="*/ 63026 h 2352356"/>
              <a:gd name="connsiteX0" fmla="*/ 0 w 3341806"/>
              <a:gd name="connsiteY0" fmla="*/ 63026 h 2801684"/>
              <a:gd name="connsiteX1" fmla="*/ 63026 w 3341806"/>
              <a:gd name="connsiteY1" fmla="*/ 0 h 2801684"/>
              <a:gd name="connsiteX2" fmla="*/ 3278780 w 3341806"/>
              <a:gd name="connsiteY2" fmla="*/ 0 h 2801684"/>
              <a:gd name="connsiteX3" fmla="*/ 3341806 w 3341806"/>
              <a:gd name="connsiteY3" fmla="*/ 63026 h 2801684"/>
              <a:gd name="connsiteX4" fmla="*/ 3341806 w 3341806"/>
              <a:gd name="connsiteY4" fmla="*/ 2281709 h 2801684"/>
              <a:gd name="connsiteX5" fmla="*/ 3278780 w 3341806"/>
              <a:gd name="connsiteY5" fmla="*/ 2344735 h 2801684"/>
              <a:gd name="connsiteX6" fmla="*/ 223046 w 3341806"/>
              <a:gd name="connsiteY6" fmla="*/ 2352355 h 2801684"/>
              <a:gd name="connsiteX7" fmla="*/ 270014 w 3341806"/>
              <a:gd name="connsiteY7" fmla="*/ 832161 h 2801684"/>
              <a:gd name="connsiteX8" fmla="*/ 0 w 3341806"/>
              <a:gd name="connsiteY8" fmla="*/ 551969 h 2801684"/>
              <a:gd name="connsiteX9" fmla="*/ 0 w 3341806"/>
              <a:gd name="connsiteY9" fmla="*/ 63026 h 2801684"/>
              <a:gd name="connsiteX0" fmla="*/ 0 w 3341806"/>
              <a:gd name="connsiteY0" fmla="*/ 63026 h 2801684"/>
              <a:gd name="connsiteX1" fmla="*/ 63026 w 3341806"/>
              <a:gd name="connsiteY1" fmla="*/ 0 h 2801684"/>
              <a:gd name="connsiteX2" fmla="*/ 3278780 w 3341806"/>
              <a:gd name="connsiteY2" fmla="*/ 0 h 2801684"/>
              <a:gd name="connsiteX3" fmla="*/ 3341806 w 3341806"/>
              <a:gd name="connsiteY3" fmla="*/ 63026 h 2801684"/>
              <a:gd name="connsiteX4" fmla="*/ 3341806 w 3341806"/>
              <a:gd name="connsiteY4" fmla="*/ 2281709 h 2801684"/>
              <a:gd name="connsiteX5" fmla="*/ 3278780 w 3341806"/>
              <a:gd name="connsiteY5" fmla="*/ 2344735 h 2801684"/>
              <a:gd name="connsiteX6" fmla="*/ 223046 w 3341806"/>
              <a:gd name="connsiteY6" fmla="*/ 2352355 h 2801684"/>
              <a:gd name="connsiteX7" fmla="*/ 270014 w 3341806"/>
              <a:gd name="connsiteY7" fmla="*/ 832161 h 2801684"/>
              <a:gd name="connsiteX8" fmla="*/ 0 w 3341806"/>
              <a:gd name="connsiteY8" fmla="*/ 551969 h 2801684"/>
              <a:gd name="connsiteX9" fmla="*/ 0 w 3341806"/>
              <a:gd name="connsiteY9" fmla="*/ 63026 h 2801684"/>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23046 w 3341806"/>
              <a:gd name="connsiteY6" fmla="*/ 2352355 h 2352355"/>
              <a:gd name="connsiteX7" fmla="*/ 270014 w 3341806"/>
              <a:gd name="connsiteY7" fmla="*/ 832161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0014 w 3341806"/>
              <a:gd name="connsiteY7" fmla="*/ 832161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0014 w 3341806"/>
              <a:gd name="connsiteY7" fmla="*/ 832161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4777 w 3341806"/>
              <a:gd name="connsiteY7" fmla="*/ 803586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4777 w 3341806"/>
              <a:gd name="connsiteY7" fmla="*/ 803586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4777 w 3341806"/>
              <a:gd name="connsiteY7" fmla="*/ 803586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4777 w 3341806"/>
              <a:gd name="connsiteY7" fmla="*/ 803586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4777 w 3341806"/>
              <a:gd name="connsiteY7" fmla="*/ 803586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817873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93827 w 3341806"/>
              <a:gd name="connsiteY7" fmla="*/ 789298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789298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789298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789298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789298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789298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789298 h 2352355"/>
              <a:gd name="connsiteX8" fmla="*/ 0 w 3341806"/>
              <a:gd name="connsiteY8" fmla="*/ 55196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789298 h 2352355"/>
              <a:gd name="connsiteX8" fmla="*/ 9525 w 3341806"/>
              <a:gd name="connsiteY8" fmla="*/ 542444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789298 h 2352355"/>
              <a:gd name="connsiteX8" fmla="*/ 9525 w 3341806"/>
              <a:gd name="connsiteY8" fmla="*/ 53291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789298 h 2352355"/>
              <a:gd name="connsiteX8" fmla="*/ 9525 w 3341806"/>
              <a:gd name="connsiteY8" fmla="*/ 532919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789298 h 2352355"/>
              <a:gd name="connsiteX8" fmla="*/ 4762 w 3341806"/>
              <a:gd name="connsiteY8" fmla="*/ 537681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789298 h 2352355"/>
              <a:gd name="connsiteX8" fmla="*/ 4762 w 3341806"/>
              <a:gd name="connsiteY8" fmla="*/ 537681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789298 h 2352355"/>
              <a:gd name="connsiteX8" fmla="*/ 4762 w 3341806"/>
              <a:gd name="connsiteY8" fmla="*/ 537681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789298 h 2352355"/>
              <a:gd name="connsiteX8" fmla="*/ 19050 w 3341806"/>
              <a:gd name="connsiteY8" fmla="*/ 537681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789298 h 2352355"/>
              <a:gd name="connsiteX8" fmla="*/ 4762 w 3341806"/>
              <a:gd name="connsiteY8" fmla="*/ 537681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789298 h 2352355"/>
              <a:gd name="connsiteX8" fmla="*/ 4762 w 3341806"/>
              <a:gd name="connsiteY8" fmla="*/ 537681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789298 h 2352355"/>
              <a:gd name="connsiteX8" fmla="*/ 4762 w 3341806"/>
              <a:gd name="connsiteY8" fmla="*/ 537681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822636 h 2352355"/>
              <a:gd name="connsiteX8" fmla="*/ 4762 w 3341806"/>
              <a:gd name="connsiteY8" fmla="*/ 537681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80196 w 3341806"/>
              <a:gd name="connsiteY6" fmla="*/ 2352355 h 2352355"/>
              <a:gd name="connsiteX7" fmla="*/ 279539 w 3341806"/>
              <a:gd name="connsiteY7" fmla="*/ 822636 h 2352355"/>
              <a:gd name="connsiteX8" fmla="*/ 4762 w 3341806"/>
              <a:gd name="connsiteY8" fmla="*/ 537681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65909 w 3341806"/>
              <a:gd name="connsiteY6" fmla="*/ 2352355 h 2352355"/>
              <a:gd name="connsiteX7" fmla="*/ 279539 w 3341806"/>
              <a:gd name="connsiteY7" fmla="*/ 822636 h 2352355"/>
              <a:gd name="connsiteX8" fmla="*/ 4762 w 3341806"/>
              <a:gd name="connsiteY8" fmla="*/ 537681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65909 w 3341806"/>
              <a:gd name="connsiteY6" fmla="*/ 2352355 h 2352355"/>
              <a:gd name="connsiteX7" fmla="*/ 279539 w 3341806"/>
              <a:gd name="connsiteY7" fmla="*/ 822636 h 2352355"/>
              <a:gd name="connsiteX8" fmla="*/ 4762 w 3341806"/>
              <a:gd name="connsiteY8" fmla="*/ 537681 h 2352355"/>
              <a:gd name="connsiteX9" fmla="*/ 0 w 3341806"/>
              <a:gd name="connsiteY9" fmla="*/ 63026 h 2352355"/>
              <a:gd name="connsiteX0" fmla="*/ 0 w 3341806"/>
              <a:gd name="connsiteY0" fmla="*/ 63026 h 2352355"/>
              <a:gd name="connsiteX1" fmla="*/ 63026 w 3341806"/>
              <a:gd name="connsiteY1" fmla="*/ 0 h 2352355"/>
              <a:gd name="connsiteX2" fmla="*/ 3278780 w 3341806"/>
              <a:gd name="connsiteY2" fmla="*/ 0 h 2352355"/>
              <a:gd name="connsiteX3" fmla="*/ 3341806 w 3341806"/>
              <a:gd name="connsiteY3" fmla="*/ 63026 h 2352355"/>
              <a:gd name="connsiteX4" fmla="*/ 3341806 w 3341806"/>
              <a:gd name="connsiteY4" fmla="*/ 2281709 h 2352355"/>
              <a:gd name="connsiteX5" fmla="*/ 3278780 w 3341806"/>
              <a:gd name="connsiteY5" fmla="*/ 2344735 h 2352355"/>
              <a:gd name="connsiteX6" fmla="*/ 265909 w 3341806"/>
              <a:gd name="connsiteY6" fmla="*/ 2352355 h 2352355"/>
              <a:gd name="connsiteX7" fmla="*/ 279539 w 3341806"/>
              <a:gd name="connsiteY7" fmla="*/ 822636 h 2352355"/>
              <a:gd name="connsiteX8" fmla="*/ 4762 w 3341806"/>
              <a:gd name="connsiteY8" fmla="*/ 537681 h 2352355"/>
              <a:gd name="connsiteX9" fmla="*/ 0 w 3341806"/>
              <a:gd name="connsiteY9" fmla="*/ 63026 h 235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41806" h="2352355">
                <a:moveTo>
                  <a:pt x="0" y="63026"/>
                </a:moveTo>
                <a:cubicBezTo>
                  <a:pt x="0" y="28218"/>
                  <a:pt x="28218" y="0"/>
                  <a:pt x="63026" y="0"/>
                </a:cubicBezTo>
                <a:lnTo>
                  <a:pt x="3278780" y="0"/>
                </a:lnTo>
                <a:cubicBezTo>
                  <a:pt x="3313588" y="0"/>
                  <a:pt x="3341806" y="28218"/>
                  <a:pt x="3341806" y="63026"/>
                </a:cubicBezTo>
                <a:lnTo>
                  <a:pt x="3341806" y="2281709"/>
                </a:lnTo>
                <a:cubicBezTo>
                  <a:pt x="3341806" y="2316517"/>
                  <a:pt x="3313588" y="2344735"/>
                  <a:pt x="3278780" y="2344735"/>
                </a:cubicBezTo>
                <a:lnTo>
                  <a:pt x="265909" y="2352355"/>
                </a:lnTo>
                <a:cubicBezTo>
                  <a:pt x="266622" y="1734631"/>
                  <a:pt x="264326" y="1146512"/>
                  <a:pt x="279539" y="822636"/>
                </a:cubicBezTo>
                <a:cubicBezTo>
                  <a:pt x="256652" y="541622"/>
                  <a:pt x="209784" y="546966"/>
                  <a:pt x="4762" y="537681"/>
                </a:cubicBezTo>
                <a:cubicBezTo>
                  <a:pt x="3175" y="379463"/>
                  <a:pt x="1587" y="221244"/>
                  <a:pt x="0" y="63026"/>
                </a:cubicBezTo>
                <a:close/>
              </a:path>
            </a:pathLst>
          </a:custGeom>
          <a:solidFill>
            <a:schemeClr val="bg1"/>
          </a:solidFill>
          <a:effectLst>
            <a:outerShdw blurRad="63500" algn="tl" rotWithShape="0">
              <a:schemeClr val="accent4">
                <a:alpha val="50000"/>
              </a:schemeClr>
            </a:outerShdw>
          </a:effectLst>
        </p:spPr>
        <p:txBody>
          <a:bodyPr/>
          <a:lstStyle>
            <a:lvl1pPr>
              <a:defRPr/>
            </a:lvl1pPr>
          </a:lstStyle>
          <a:p>
            <a:r>
              <a:rPr lang="de-DE"/>
              <a:t>Bild durch Klicken auf Symbol hinzufügen</a:t>
            </a:r>
            <a:endParaRPr lang="en-DE" dirty="0"/>
          </a:p>
        </p:txBody>
      </p:sp>
      <p:sp>
        <p:nvSpPr>
          <p:cNvPr id="7" name="mobile picture">
            <a:extLst>
              <a:ext uri="{FF2B5EF4-FFF2-40B4-BE49-F238E27FC236}">
                <a16:creationId xmlns:a16="http://schemas.microsoft.com/office/drawing/2014/main" id="{C1521B3C-1A04-A15B-0BDB-AB7DC11D0F1E}"/>
              </a:ext>
            </a:extLst>
          </p:cNvPr>
          <p:cNvSpPr>
            <a:spLocks noGrp="1"/>
          </p:cNvSpPr>
          <p:nvPr>
            <p:ph type="pic" sz="quarter" idx="17"/>
          </p:nvPr>
        </p:nvSpPr>
        <p:spPr>
          <a:xfrm>
            <a:off x="6900862" y="3686175"/>
            <a:ext cx="1028459" cy="2424113"/>
          </a:xfrm>
          <a:prstGeom prst="roundRect">
            <a:avLst>
              <a:gd name="adj" fmla="val 11275"/>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dirty="0"/>
          </a:p>
        </p:txBody>
      </p:sp>
    </p:spTree>
    <p:extLst>
      <p:ext uri="{BB962C8B-B14F-4D97-AF65-F5344CB8AC3E}">
        <p14:creationId xmlns:p14="http://schemas.microsoft.com/office/powerpoint/2010/main" val="288975364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  024 : 3 icon-circles : 3 contents">
    <p:spTree>
      <p:nvGrpSpPr>
        <p:cNvPr id="1" name=""/>
        <p:cNvGrpSpPr/>
        <p:nvPr/>
      </p:nvGrpSpPr>
      <p:grpSpPr>
        <a:xfrm>
          <a:off x="0" y="0"/>
          <a:ext cx="0" cy="0"/>
          <a:chOff x="0" y="0"/>
          <a:chExt cx="0" cy="0"/>
        </a:xfrm>
      </p:grpSpPr>
      <p:sp>
        <p:nvSpPr>
          <p:cNvPr id="18" name="slide number">
            <a:extLst>
              <a:ext uri="{FF2B5EF4-FFF2-40B4-BE49-F238E27FC236}">
                <a16:creationId xmlns:a16="http://schemas.microsoft.com/office/drawing/2014/main" id="{D9B987B5-FC87-07A0-EE60-B25D4CECC194}"/>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9" name="footer">
            <a:extLst>
              <a:ext uri="{FF2B5EF4-FFF2-40B4-BE49-F238E27FC236}">
                <a16:creationId xmlns:a16="http://schemas.microsoft.com/office/drawing/2014/main" id="{0E22014F-C60E-A5F2-3D35-B99352051E80}"/>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20" name="date">
            <a:extLst>
              <a:ext uri="{FF2B5EF4-FFF2-40B4-BE49-F238E27FC236}">
                <a16:creationId xmlns:a16="http://schemas.microsoft.com/office/drawing/2014/main" id="{B9DDA708-6115-B505-1604-CB18C57492F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6" name="content 3">
            <a:extLst>
              <a:ext uri="{FF2B5EF4-FFF2-40B4-BE49-F238E27FC236}">
                <a16:creationId xmlns:a16="http://schemas.microsoft.com/office/drawing/2014/main" id="{B5886103-0D8E-5D01-3B87-1FDDA2E05BE4}"/>
              </a:ext>
            </a:extLst>
          </p:cNvPr>
          <p:cNvSpPr>
            <a:spLocks noGrp="1"/>
          </p:cNvSpPr>
          <p:nvPr>
            <p:ph sz="quarter" idx="25"/>
          </p:nvPr>
        </p:nvSpPr>
        <p:spPr>
          <a:xfrm>
            <a:off x="8299890" y="3420000"/>
            <a:ext cx="2736000" cy="2736500"/>
          </a:xfrm>
          <a:prstGeom prst="rect">
            <a:avLst/>
          </a:prstGeom>
          <a:noFill/>
        </p:spPr>
        <p:txBody>
          <a:bodyPr vert="horz" lIns="0" tIns="0" rIns="0" bIns="0" rtlCol="0" anchor="t" anchorCtr="0">
            <a:noAutofit/>
          </a:bodyPr>
          <a:lstStyle>
            <a:lvl1pPr algn="l">
              <a:defRPr lang="en-US" sz="1400" dirty="0"/>
            </a:lvl1pPr>
            <a:lvl2pPr algn="l">
              <a:defRPr lang="en-US" sz="1400" dirty="0"/>
            </a:lvl2pPr>
            <a:lvl3pPr algn="l">
              <a:defRPr lang="en-US" sz="1400" dirty="0"/>
            </a:lvl3pPr>
            <a:lvl4pPr algn="l">
              <a:defRPr lang="en-US" sz="1400" dirty="0"/>
            </a:lvl4pPr>
            <a:lvl5pPr algn="l">
              <a:defRPr lang="nl-NL" sz="1400" noProof="0" dirty="0"/>
            </a:lvl5pPr>
            <a:lvl6pPr algn="l">
              <a:defRPr lang="nl-NL" sz="1400" noProof="0" dirty="0"/>
            </a:lvl6pPr>
            <a:lvl7pPr algn="l">
              <a:defRPr lang="nl-NL" sz="1400" noProof="0" dirty="0"/>
            </a:lvl7pPr>
            <a:lvl8pPr algn="l">
              <a:defRPr lang="nl-NL" sz="1400" noProof="0" dirty="0"/>
            </a:lvl8pPr>
            <a:lvl9pPr algn="l">
              <a:defRPr lang="nl-NL" sz="1400" noProof="0" dirty="0"/>
            </a:lvl9pPr>
          </a:lstStyle>
          <a:p>
            <a:pPr lvl="0"/>
            <a:r>
              <a:rPr lang="de-DE"/>
              <a:t>Mastertextformat bearbeiten</a:t>
            </a:r>
          </a:p>
        </p:txBody>
      </p:sp>
      <p:sp>
        <p:nvSpPr>
          <p:cNvPr id="9" name="circle 3">
            <a:extLst>
              <a:ext uri="{FF2B5EF4-FFF2-40B4-BE49-F238E27FC236}">
                <a16:creationId xmlns:a16="http://schemas.microsoft.com/office/drawing/2014/main" id="{03E6616D-6BE5-1F0D-0C0A-EDEE8E74F894}"/>
              </a:ext>
            </a:extLst>
          </p:cNvPr>
          <p:cNvSpPr>
            <a:spLocks noGrp="1"/>
          </p:cNvSpPr>
          <p:nvPr>
            <p:ph type="body" idx="45" hasCustomPrompt="1"/>
          </p:nvPr>
        </p:nvSpPr>
        <p:spPr>
          <a:xfrm>
            <a:off x="9037890"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9" name="Icon-placeholder 3">
            <a:extLst>
              <a:ext uri="{FF2B5EF4-FFF2-40B4-BE49-F238E27FC236}">
                <a16:creationId xmlns:a16="http://schemas.microsoft.com/office/drawing/2014/main" id="{C60ADAF8-2C7E-52B4-A639-798B1160C641}"/>
              </a:ext>
            </a:extLst>
          </p:cNvPr>
          <p:cNvSpPr>
            <a:spLocks noGrp="1"/>
          </p:cNvSpPr>
          <p:nvPr>
            <p:ph sz="quarter" idx="35"/>
          </p:nvPr>
        </p:nvSpPr>
        <p:spPr>
          <a:xfrm>
            <a:off x="9397890" y="207965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4" name="content 2">
            <a:extLst>
              <a:ext uri="{FF2B5EF4-FFF2-40B4-BE49-F238E27FC236}">
                <a16:creationId xmlns:a16="http://schemas.microsoft.com/office/drawing/2014/main" id="{0F189F99-D754-4356-5E4B-0F553CC9C353}"/>
              </a:ext>
            </a:extLst>
          </p:cNvPr>
          <p:cNvSpPr>
            <a:spLocks noGrp="1"/>
          </p:cNvSpPr>
          <p:nvPr>
            <p:ph sz="quarter" idx="24"/>
          </p:nvPr>
        </p:nvSpPr>
        <p:spPr>
          <a:xfrm>
            <a:off x="4728000" y="3420000"/>
            <a:ext cx="2736000" cy="2736500"/>
          </a:xfrm>
          <a:prstGeom prst="rect">
            <a:avLst/>
          </a:prstGeom>
          <a:noFill/>
        </p:spPr>
        <p:txBody>
          <a:bodyPr vert="horz" lIns="0" tIns="0" rIns="0" bIns="0" rtlCol="0" anchor="t" anchorCtr="0">
            <a:noAutofit/>
          </a:bodyPr>
          <a:lstStyle>
            <a:lvl1pPr algn="l">
              <a:defRPr lang="en-US" sz="1400" dirty="0"/>
            </a:lvl1pPr>
            <a:lvl2pPr algn="l">
              <a:defRPr lang="en-US" sz="1400" dirty="0"/>
            </a:lvl2pPr>
            <a:lvl3pPr algn="l">
              <a:defRPr lang="en-US" sz="1400" dirty="0"/>
            </a:lvl3pPr>
            <a:lvl4pPr algn="l">
              <a:defRPr lang="en-US" sz="1400" dirty="0"/>
            </a:lvl4pPr>
            <a:lvl5pPr algn="l">
              <a:defRPr lang="nl-NL" sz="1400" noProof="0" dirty="0"/>
            </a:lvl5pPr>
            <a:lvl6pPr algn="l">
              <a:defRPr lang="nl-NL" sz="1400" noProof="0" dirty="0"/>
            </a:lvl6pPr>
            <a:lvl7pPr algn="l">
              <a:defRPr lang="nl-NL" sz="1400" noProof="0" dirty="0"/>
            </a:lvl7pPr>
            <a:lvl8pPr algn="l">
              <a:defRPr lang="nl-NL" sz="1400" noProof="0" dirty="0"/>
            </a:lvl8pPr>
            <a:lvl9pPr algn="l">
              <a:defRPr lang="nl-NL" sz="1400" noProof="0" dirty="0"/>
            </a:lvl9pPr>
          </a:lstStyle>
          <a:p>
            <a:pPr lvl="0"/>
            <a:r>
              <a:rPr lang="de-DE"/>
              <a:t>Mastertextformat bearbeiten</a:t>
            </a:r>
          </a:p>
        </p:txBody>
      </p:sp>
      <p:sp>
        <p:nvSpPr>
          <p:cNvPr id="11" name="circle 2">
            <a:extLst>
              <a:ext uri="{FF2B5EF4-FFF2-40B4-BE49-F238E27FC236}">
                <a16:creationId xmlns:a16="http://schemas.microsoft.com/office/drawing/2014/main" id="{734287B7-FF2C-081C-D1AE-E5AAC79579AE}"/>
              </a:ext>
            </a:extLst>
          </p:cNvPr>
          <p:cNvSpPr>
            <a:spLocks noGrp="1"/>
          </p:cNvSpPr>
          <p:nvPr>
            <p:ph type="body" idx="44" hasCustomPrompt="1"/>
          </p:nvPr>
        </p:nvSpPr>
        <p:spPr>
          <a:xfrm>
            <a:off x="5466000"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5" name="Icon-placeholder 2">
            <a:extLst>
              <a:ext uri="{FF2B5EF4-FFF2-40B4-BE49-F238E27FC236}">
                <a16:creationId xmlns:a16="http://schemas.microsoft.com/office/drawing/2014/main" id="{2E85AA86-5649-E89A-22E5-F7FE994FA4CF}"/>
              </a:ext>
            </a:extLst>
          </p:cNvPr>
          <p:cNvSpPr>
            <a:spLocks noGrp="1"/>
          </p:cNvSpPr>
          <p:nvPr>
            <p:ph sz="quarter" idx="33"/>
          </p:nvPr>
        </p:nvSpPr>
        <p:spPr>
          <a:xfrm>
            <a:off x="5826000" y="207965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 name="content 1">
            <a:extLst>
              <a:ext uri="{FF2B5EF4-FFF2-40B4-BE49-F238E27FC236}">
                <a16:creationId xmlns:a16="http://schemas.microsoft.com/office/drawing/2014/main" id="{77A29EE5-2B1C-3EC4-6F36-6ECBC9D69F26}"/>
              </a:ext>
            </a:extLst>
          </p:cNvPr>
          <p:cNvSpPr>
            <a:spLocks noGrp="1"/>
          </p:cNvSpPr>
          <p:nvPr>
            <p:ph sz="quarter" idx="22"/>
          </p:nvPr>
        </p:nvSpPr>
        <p:spPr>
          <a:xfrm>
            <a:off x="1156110" y="3420000"/>
            <a:ext cx="2736000" cy="2736500"/>
          </a:xfrm>
          <a:prstGeom prst="rect">
            <a:avLst/>
          </a:prstGeom>
          <a:noFill/>
        </p:spPr>
        <p:txBody>
          <a:bodyPr vert="horz" lIns="0" tIns="0" rIns="0" bIns="0" rtlCol="0" anchor="t" anchorCtr="0">
            <a:noAutofit/>
          </a:bodyPr>
          <a:lstStyle>
            <a:lvl1pPr algn="l">
              <a:defRPr lang="en-US" sz="1400" dirty="0"/>
            </a:lvl1pPr>
            <a:lvl2pPr algn="l">
              <a:defRPr lang="en-US" sz="1400" dirty="0"/>
            </a:lvl2pPr>
            <a:lvl3pPr algn="l">
              <a:defRPr lang="en-US" sz="1400" dirty="0"/>
            </a:lvl3pPr>
            <a:lvl4pPr algn="l">
              <a:defRPr lang="en-US" sz="1400" dirty="0"/>
            </a:lvl4pPr>
            <a:lvl5pPr algn="l">
              <a:defRPr lang="nl-NL" sz="1400" noProof="0" dirty="0"/>
            </a:lvl5pPr>
            <a:lvl6pPr algn="l">
              <a:defRPr lang="nl-NL" sz="1400" noProof="0" dirty="0"/>
            </a:lvl6pPr>
            <a:lvl7pPr algn="l">
              <a:defRPr lang="nl-NL" sz="1400" noProof="0" dirty="0"/>
            </a:lvl7pPr>
            <a:lvl8pPr algn="l">
              <a:defRPr lang="nl-NL" sz="1400" noProof="0" dirty="0"/>
            </a:lvl8pPr>
            <a:lvl9pPr algn="l">
              <a:defRPr lang="nl-NL" sz="1400" noProof="0" dirty="0"/>
            </a:lvl9pPr>
          </a:lstStyle>
          <a:p>
            <a:pPr lvl="0"/>
            <a:r>
              <a:rPr lang="de-DE"/>
              <a:t>Mastertextformat bearbeiten</a:t>
            </a:r>
          </a:p>
        </p:txBody>
      </p:sp>
      <p:sp>
        <p:nvSpPr>
          <p:cNvPr id="16" name="circle 1">
            <a:extLst>
              <a:ext uri="{FF2B5EF4-FFF2-40B4-BE49-F238E27FC236}">
                <a16:creationId xmlns:a16="http://schemas.microsoft.com/office/drawing/2014/main" id="{CF9B3468-8D83-E9F3-7B03-E73CD41ECE15}"/>
              </a:ext>
            </a:extLst>
          </p:cNvPr>
          <p:cNvSpPr>
            <a:spLocks noGrp="1"/>
          </p:cNvSpPr>
          <p:nvPr>
            <p:ph type="body" idx="43" hasCustomPrompt="1"/>
          </p:nvPr>
        </p:nvSpPr>
        <p:spPr>
          <a:xfrm>
            <a:off x="1894110"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1" name="Icon-placeholder 1">
            <a:extLst>
              <a:ext uri="{FF2B5EF4-FFF2-40B4-BE49-F238E27FC236}">
                <a16:creationId xmlns:a16="http://schemas.microsoft.com/office/drawing/2014/main" id="{58129E42-8DEF-4ABF-4EC7-0503FD820234}"/>
              </a:ext>
            </a:extLst>
          </p:cNvPr>
          <p:cNvSpPr>
            <a:spLocks noGrp="1"/>
          </p:cNvSpPr>
          <p:nvPr>
            <p:ph sz="quarter" idx="23"/>
          </p:nvPr>
        </p:nvSpPr>
        <p:spPr>
          <a:xfrm>
            <a:off x="2254110" y="207965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7A299E29-D08F-1AB7-8A5E-A0AE864F90F6}"/>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922711001"/>
      </p:ext>
    </p:extLst>
  </p:cSld>
  <p:clrMapOvr>
    <a:masterClrMapping/>
  </p:clrMapOvr>
  <p:extLst>
    <p:ext uri="{DCECCB84-F9BA-43D5-87BE-67443E8EF086}">
      <p15:sldGuideLst xmlns:p15="http://schemas.microsoft.com/office/powerpoint/2012/main">
        <p15:guide id="1" orient="horz" pos="1480">
          <p15:clr>
            <a:srgbClr val="FBAE40"/>
          </p15:clr>
        </p15:guide>
        <p15:guide id="2" orient="horz" pos="2160">
          <p15:clr>
            <a:srgbClr val="FBAE40"/>
          </p15:clr>
        </p15:guide>
        <p15:guide id="3"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  025 : 2 text circles : Icons">
    <p:spTree>
      <p:nvGrpSpPr>
        <p:cNvPr id="1" name=""/>
        <p:cNvGrpSpPr/>
        <p:nvPr/>
      </p:nvGrpSpPr>
      <p:grpSpPr>
        <a:xfrm>
          <a:off x="0" y="0"/>
          <a:ext cx="0" cy="0"/>
          <a:chOff x="0" y="0"/>
          <a:chExt cx="0" cy="0"/>
        </a:xfrm>
      </p:grpSpPr>
      <p:sp>
        <p:nvSpPr>
          <p:cNvPr id="11" name="slide number">
            <a:extLst>
              <a:ext uri="{FF2B5EF4-FFF2-40B4-BE49-F238E27FC236}">
                <a16:creationId xmlns:a16="http://schemas.microsoft.com/office/drawing/2014/main" id="{C9BA3CE1-F4C3-2C3D-C372-01096BC0A071}"/>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9C96A835-E90E-5839-1566-B4738150090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4" name="date">
            <a:extLst>
              <a:ext uri="{FF2B5EF4-FFF2-40B4-BE49-F238E27FC236}">
                <a16:creationId xmlns:a16="http://schemas.microsoft.com/office/drawing/2014/main" id="{61BC8F3A-DE2E-C831-0500-7FA96995AB4D}"/>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37" name="text 2">
            <a:extLst>
              <a:ext uri="{FF2B5EF4-FFF2-40B4-BE49-F238E27FC236}">
                <a16:creationId xmlns:a16="http://schemas.microsoft.com/office/drawing/2014/main" id="{4C7A74BA-677D-44AF-0C2A-FDAE4A7E8131}"/>
              </a:ext>
            </a:extLst>
          </p:cNvPr>
          <p:cNvSpPr>
            <a:spLocks noGrp="1"/>
          </p:cNvSpPr>
          <p:nvPr>
            <p:ph type="body" sz="quarter" idx="34"/>
          </p:nvPr>
        </p:nvSpPr>
        <p:spPr>
          <a:xfrm>
            <a:off x="7309203" y="2628000"/>
            <a:ext cx="2160000" cy="3060000"/>
          </a:xfrm>
          <a:prstGeom prst="rect">
            <a:avLst/>
          </a:prstGeom>
          <a:solidFill>
            <a:schemeClr val="bg1"/>
          </a:solidFill>
          <a:effectLst/>
        </p:spPr>
        <p:txBody>
          <a:bodyPr vert="horz" lIns="0" tIns="0" rIns="0" bIns="0" rtlCol="0">
            <a:noAutofit/>
          </a:bodyPr>
          <a:lstStyle>
            <a:lvl1pPr>
              <a:defRPr lang="en-US" sz="1200" smtClean="0"/>
            </a:lvl1pPr>
            <a:lvl2pPr>
              <a:defRPr lang="en-US" sz="1200" smtClean="0"/>
            </a:lvl2pPr>
            <a:lvl3pPr>
              <a:defRPr lang="en-US" sz="1200" smtClean="0"/>
            </a:lvl3pPr>
            <a:lvl4pPr>
              <a:defRPr lang="en-US" sz="1200" smtClean="0">
                <a:solidFill>
                  <a:schemeClr val="tx2"/>
                </a:solidFill>
              </a:defRPr>
            </a:lvl4pPr>
            <a:lvl5pPr>
              <a:defRPr lang="en-US" dirty="0">
                <a:gradFill>
                  <a:gsLst>
                    <a:gs pos="0">
                      <a:srgbClr val="FF4B4B"/>
                    </a:gs>
                    <a:gs pos="99000">
                      <a:srgbClr val="FF744F"/>
                    </a:gs>
                  </a:gsLst>
                  <a:lin ang="18900000" scaled="0"/>
                </a:gradFill>
              </a:defRPr>
            </a:lvl5pPr>
          </a:lstStyle>
          <a:p>
            <a:pPr lvl="0"/>
            <a:r>
              <a:rPr lang="de-DE"/>
              <a:t>Mastertextformat bearbeiten</a:t>
            </a:r>
          </a:p>
        </p:txBody>
      </p:sp>
      <p:sp>
        <p:nvSpPr>
          <p:cNvPr id="35" name="text 1">
            <a:extLst>
              <a:ext uri="{FF2B5EF4-FFF2-40B4-BE49-F238E27FC236}">
                <a16:creationId xmlns:a16="http://schemas.microsoft.com/office/drawing/2014/main" id="{927C191B-A08F-85D5-D2F2-99828DB99C61}"/>
              </a:ext>
            </a:extLst>
          </p:cNvPr>
          <p:cNvSpPr>
            <a:spLocks noGrp="1"/>
          </p:cNvSpPr>
          <p:nvPr>
            <p:ph type="body" sz="quarter" idx="29"/>
          </p:nvPr>
        </p:nvSpPr>
        <p:spPr>
          <a:xfrm>
            <a:off x="2880000" y="2628000"/>
            <a:ext cx="2160000" cy="3060000"/>
          </a:xfrm>
          <a:prstGeom prst="rect">
            <a:avLst/>
          </a:prstGeom>
          <a:noFill/>
          <a:effectLst/>
        </p:spPr>
        <p:txBody>
          <a:bodyPr lIns="0" tIns="0" rIns="0"/>
          <a:lstStyle>
            <a:lvl1pPr>
              <a:defRPr sz="1200">
                <a:latin typeface="+mn-lt"/>
              </a:defRPr>
            </a:lvl1pPr>
            <a:lvl2pPr>
              <a:defRPr sz="1200">
                <a:latin typeface="+mn-lt"/>
              </a:defRPr>
            </a:lvl2pPr>
            <a:lvl3pPr>
              <a:defRPr sz="1200">
                <a:latin typeface="+mn-lt"/>
              </a:defRPr>
            </a:lvl3pPr>
            <a:lvl4pPr>
              <a:defRPr sz="1200">
                <a:solidFill>
                  <a:schemeClr val="tx2"/>
                </a:solidFill>
                <a:latin typeface="+mn-lt"/>
              </a:defRPr>
            </a:lvl4pPr>
            <a:lvl5pPr>
              <a:defRPr lang="en-US" sz="1400" b="0" kern="1200" spc="40" baseline="0" noProof="0" dirty="0">
                <a:gradFill>
                  <a:gsLst>
                    <a:gs pos="0">
                      <a:srgbClr val="FF4B4B"/>
                    </a:gs>
                    <a:gs pos="99000">
                      <a:srgbClr val="FF744F"/>
                    </a:gs>
                  </a:gsLst>
                  <a:lin ang="18900000" scaled="0"/>
                </a:gradFill>
                <a:latin typeface="+mj-lt"/>
                <a:ea typeface="+mn-ea"/>
                <a:cs typeface="+mn-cs"/>
              </a:defRPr>
            </a:lvl5pPr>
            <a:lvl6pPr>
              <a:defRPr lang="en-US" sz="1000" b="0" kern="1200" baseline="0" noProof="0" dirty="0" smtClean="0">
                <a:solidFill>
                  <a:schemeClr val="tx2"/>
                </a:solidFill>
                <a:latin typeface="+mn-lt"/>
                <a:ea typeface="+mn-ea"/>
                <a:cs typeface="+mn-cs"/>
              </a:defRPr>
            </a:lvl6pPr>
            <a:lvl7pPr>
              <a:defRPr lang="en-US" sz="1000" b="0" kern="1200" baseline="0" noProof="0" dirty="0" smtClean="0">
                <a:solidFill>
                  <a:schemeClr val="tx2"/>
                </a:solidFill>
                <a:latin typeface="+mn-lt"/>
                <a:ea typeface="+mn-ea"/>
                <a:cs typeface="+mn-cs"/>
              </a:defRPr>
            </a:lvl7pPr>
            <a:lvl8pPr>
              <a:defRPr lang="en-US" sz="1000" b="0" kern="1200" baseline="0" noProof="0" dirty="0" smtClean="0">
                <a:solidFill>
                  <a:schemeClr val="tx2"/>
                </a:solidFill>
                <a:latin typeface="+mn-lt"/>
                <a:ea typeface="+mn-ea"/>
                <a:cs typeface="+mn-cs"/>
              </a:defRPr>
            </a:lvl8pPr>
            <a:lvl9pPr>
              <a:defRPr lang="en-US" sz="1000" b="0" kern="1200" baseline="0" noProof="0" dirty="0" smtClean="0">
                <a:solidFill>
                  <a:schemeClr val="tx2"/>
                </a:solidFill>
                <a:latin typeface="+mn-lt"/>
                <a:ea typeface="+mn-ea"/>
                <a:cs typeface="+mn-cs"/>
              </a:defRPr>
            </a:lvl9pPr>
          </a:lstStyle>
          <a:p>
            <a:pPr lvl="0"/>
            <a:r>
              <a:rPr lang="de-DE"/>
              <a:t>Mastertextformat bearbeiten</a:t>
            </a:r>
          </a:p>
        </p:txBody>
      </p:sp>
      <p:sp>
        <p:nvSpPr>
          <p:cNvPr id="5" name="title">
            <a:extLst>
              <a:ext uri="{FF2B5EF4-FFF2-40B4-BE49-F238E27FC236}">
                <a16:creationId xmlns:a16="http://schemas.microsoft.com/office/drawing/2014/main" id="{A40CDE67-43E3-2705-8865-2677F3CF4561}"/>
              </a:ext>
            </a:extLst>
          </p:cNvPr>
          <p:cNvSpPr>
            <a:spLocks noGrp="1"/>
          </p:cNvSpPr>
          <p:nvPr>
            <p:ph type="title"/>
          </p:nvPr>
        </p:nvSpPr>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BC82E269-B945-9E98-D88A-B9E0B906BD92}"/>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806122071"/>
      </p:ext>
    </p:extLst>
  </p:cSld>
  <p:clrMapOvr>
    <a:masterClrMapping/>
  </p:clrMapOvr>
  <p:extLst>
    <p:ext uri="{DCECCB84-F9BA-43D5-87BE-67443E8EF086}">
      <p15:sldGuideLst xmlns:p15="http://schemas.microsoft.com/office/powerpoint/2012/main">
        <p15:guide id="1" orient="horz" pos="152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   002 : 2 contents">
    <p:spTree>
      <p:nvGrpSpPr>
        <p:cNvPr id="1" name=""/>
        <p:cNvGrpSpPr/>
        <p:nvPr/>
      </p:nvGrpSpPr>
      <p:grpSpPr>
        <a:xfrm>
          <a:off x="0" y="0"/>
          <a:ext cx="0" cy="0"/>
          <a:chOff x="0" y="0"/>
          <a:chExt cx="0" cy="0"/>
        </a:xfrm>
      </p:grpSpPr>
      <p:sp>
        <p:nvSpPr>
          <p:cNvPr id="11" name="slide number">
            <a:extLst>
              <a:ext uri="{FF2B5EF4-FFF2-40B4-BE49-F238E27FC236}">
                <a16:creationId xmlns:a16="http://schemas.microsoft.com/office/drawing/2014/main" id="{BC8BA2C0-FF86-7160-B605-4AFD8142AAA5}"/>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268B1DC0-E2F4-964B-BEBC-F781A34B417B}"/>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020BFB18-B358-A527-A325-CBA53A65BE2E}"/>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6238863" y="1475999"/>
            <a:ext cx="5400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75999"/>
            <a:ext cx="5400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57A2D597-3CE6-BDC7-EFD7-433C543868A7}"/>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1807382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  025 : 2 text boxes : Icons">
    <p:spTree>
      <p:nvGrpSpPr>
        <p:cNvPr id="1" name=""/>
        <p:cNvGrpSpPr/>
        <p:nvPr/>
      </p:nvGrpSpPr>
      <p:grpSpPr>
        <a:xfrm>
          <a:off x="0" y="0"/>
          <a:ext cx="0" cy="0"/>
          <a:chOff x="0" y="0"/>
          <a:chExt cx="0" cy="0"/>
        </a:xfrm>
      </p:grpSpPr>
      <p:sp>
        <p:nvSpPr>
          <p:cNvPr id="11" name="slide number">
            <a:extLst>
              <a:ext uri="{FF2B5EF4-FFF2-40B4-BE49-F238E27FC236}">
                <a16:creationId xmlns:a16="http://schemas.microsoft.com/office/drawing/2014/main" id="{C9BA3CE1-F4C3-2C3D-C372-01096BC0A071}"/>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9C96A835-E90E-5839-1566-B4738150090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4" name="date">
            <a:extLst>
              <a:ext uri="{FF2B5EF4-FFF2-40B4-BE49-F238E27FC236}">
                <a16:creationId xmlns:a16="http://schemas.microsoft.com/office/drawing/2014/main" id="{61BC8F3A-DE2E-C831-0500-7FA96995AB4D}"/>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3" name="text">
            <a:extLst>
              <a:ext uri="{FF2B5EF4-FFF2-40B4-BE49-F238E27FC236}">
                <a16:creationId xmlns:a16="http://schemas.microsoft.com/office/drawing/2014/main" id="{A1FE09D6-F50B-58D0-9D25-2A26AF1045C4}"/>
              </a:ext>
            </a:extLst>
          </p:cNvPr>
          <p:cNvSpPr>
            <a:spLocks noGrp="1"/>
          </p:cNvSpPr>
          <p:nvPr>
            <p:ph type="body" idx="1"/>
          </p:nvPr>
        </p:nvSpPr>
        <p:spPr>
          <a:xfrm>
            <a:off x="540000" y="1476000"/>
            <a:ext cx="11088000" cy="1440000"/>
          </a:xfrm>
          <a:prstGeom prst="roundRect">
            <a:avLst>
              <a:gd name="adj" fmla="val 5828"/>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lIns="0" tIns="288000" rIns="0" bIns="0" rtlCol="0" anchor="t" anchorCtr="1">
            <a:noAutofit/>
          </a:bodyPr>
          <a:lstStyle>
            <a:lvl1pPr>
              <a:defRPr lang="en-US" sz="1800" dirty="0">
                <a:solidFill>
                  <a:schemeClr val="bg1"/>
                </a:solidFill>
                <a:latin typeface="+mj-lt"/>
              </a:defRPr>
            </a:lvl1pPr>
          </a:lstStyle>
          <a:p>
            <a:pPr lvl="0" algn="ctr"/>
            <a:r>
              <a:rPr lang="de-DE"/>
              <a:t>Mastertextformat bearbeiten</a:t>
            </a:r>
          </a:p>
        </p:txBody>
      </p:sp>
      <p:sp>
        <p:nvSpPr>
          <p:cNvPr id="37" name="text 2">
            <a:extLst>
              <a:ext uri="{FF2B5EF4-FFF2-40B4-BE49-F238E27FC236}">
                <a16:creationId xmlns:a16="http://schemas.microsoft.com/office/drawing/2014/main" id="{4C7A74BA-677D-44AF-0C2A-FDAE4A7E8131}"/>
              </a:ext>
            </a:extLst>
          </p:cNvPr>
          <p:cNvSpPr>
            <a:spLocks noGrp="1"/>
          </p:cNvSpPr>
          <p:nvPr>
            <p:ph type="body" sz="quarter" idx="34" hasCustomPrompt="1"/>
          </p:nvPr>
        </p:nvSpPr>
        <p:spPr>
          <a:xfrm>
            <a:off x="6096000" y="2420938"/>
            <a:ext cx="3960000" cy="3600000"/>
          </a:xfrm>
          <a:prstGeom prst="roundRect">
            <a:avLst>
              <a:gd name="adj" fmla="val 2115"/>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dirty="0" smtClean="0"/>
            </a:lvl1pPr>
            <a:lvl2pPr>
              <a:defRPr lang="en-US" sz="1000" dirty="0" smtClean="0"/>
            </a:lvl2pPr>
            <a:lvl3pPr>
              <a:defRPr lang="en-US" sz="1000" dirty="0" smtClean="0"/>
            </a:lvl3pPr>
            <a:lvl4pPr>
              <a:defRPr lang="en-US" sz="1000" dirty="0" smtClean="0">
                <a:solidFill>
                  <a:schemeClr val="tx2"/>
                </a:solidFill>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dirty="0" smtClean="0">
                <a:solidFill>
                  <a:schemeClr val="tx2"/>
                </a:solidFill>
                <a:ea typeface="+mn-ea"/>
                <a:cs typeface="+mn-cs"/>
              </a:defRPr>
            </a:lvl6pPr>
            <a:lvl7pPr>
              <a:defRPr lang="en-US" sz="1000" b="0" baseline="0" dirty="0" smtClean="0"/>
            </a:lvl7pPr>
            <a:lvl8pPr>
              <a:defRPr lang="en-US" sz="1000" b="0" baseline="0" dirty="0" smtClean="0"/>
            </a:lvl8pPr>
            <a:lvl9pPr>
              <a:defRPr lang="en-US" sz="1000" b="0" dirty="0" smtClean="0">
                <a:latin typeface="+mn-lt"/>
                <a:cs typeface="+mn-cs"/>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24" name="icon 2">
            <a:extLst>
              <a:ext uri="{FF2B5EF4-FFF2-40B4-BE49-F238E27FC236}">
                <a16:creationId xmlns:a16="http://schemas.microsoft.com/office/drawing/2014/main" id="{59748B2D-BB1C-8085-B717-CE69ADE160FD}"/>
              </a:ext>
            </a:extLst>
          </p:cNvPr>
          <p:cNvSpPr>
            <a:spLocks noGrp="1"/>
          </p:cNvSpPr>
          <p:nvPr>
            <p:ph sz="quarter" idx="27"/>
          </p:nvPr>
        </p:nvSpPr>
        <p:spPr>
          <a:xfrm>
            <a:off x="6301805" y="2628000"/>
            <a:ext cx="540000" cy="540000"/>
          </a:xfrm>
        </p:spPr>
        <p:txBody>
          <a:bodyPr/>
          <a:lstStyle>
            <a:lvl1pPr>
              <a:lnSpc>
                <a:spcPts val="1400"/>
              </a:lnSpc>
              <a:defRPr lang="en-DE"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5" name="text 1">
            <a:extLst>
              <a:ext uri="{FF2B5EF4-FFF2-40B4-BE49-F238E27FC236}">
                <a16:creationId xmlns:a16="http://schemas.microsoft.com/office/drawing/2014/main" id="{927C191B-A08F-85D5-D2F2-99828DB99C61}"/>
              </a:ext>
            </a:extLst>
          </p:cNvPr>
          <p:cNvSpPr>
            <a:spLocks noGrp="1"/>
          </p:cNvSpPr>
          <p:nvPr>
            <p:ph type="body" sz="quarter" idx="29" hasCustomPrompt="1"/>
          </p:nvPr>
        </p:nvSpPr>
        <p:spPr>
          <a:xfrm>
            <a:off x="1762898" y="2420938"/>
            <a:ext cx="3960000" cy="3600000"/>
          </a:xfrm>
          <a:prstGeom prst="roundRect">
            <a:avLst>
              <a:gd name="adj" fmla="val 2115"/>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lIns="180000" tIns="1044000" rIns="108000"/>
          <a:lstStyle>
            <a:lvl1pPr>
              <a:defRPr sz="1000">
                <a:latin typeface="+mn-lt"/>
              </a:defRPr>
            </a:lvl1pPr>
            <a:lvl2pPr>
              <a:defRPr sz="1000">
                <a:latin typeface="+mn-lt"/>
              </a:defRPr>
            </a:lvl2pPr>
            <a:lvl3pPr>
              <a:defRPr sz="1000">
                <a:latin typeface="+mn-lt"/>
              </a:defRPr>
            </a:lvl3pPr>
            <a:lvl4pPr>
              <a:defRPr sz="1000">
                <a:solidFill>
                  <a:schemeClr val="tx2"/>
                </a:solidFill>
                <a:latin typeface="+mn-lt"/>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b="0" kern="1200" baseline="0" noProof="0" dirty="0" smtClean="0">
                <a:solidFill>
                  <a:schemeClr val="tx2"/>
                </a:solidFill>
                <a:latin typeface="+mn-lt"/>
                <a:ea typeface="+mn-ea"/>
                <a:cs typeface="+mn-cs"/>
              </a:defRPr>
            </a:lvl6pPr>
            <a:lvl7pPr>
              <a:defRPr lang="en-US" sz="1000" b="0" kern="1200" baseline="0" noProof="0" dirty="0" smtClean="0">
                <a:solidFill>
                  <a:schemeClr val="tx2"/>
                </a:solidFill>
                <a:latin typeface="+mn-lt"/>
                <a:ea typeface="+mn-ea"/>
                <a:cs typeface="+mn-cs"/>
              </a:defRPr>
            </a:lvl7pPr>
            <a:lvl8pPr>
              <a:defRPr lang="en-US" sz="1000" b="0" kern="1200" baseline="0" noProof="0" dirty="0" smtClean="0">
                <a:solidFill>
                  <a:schemeClr val="tx2"/>
                </a:solidFill>
                <a:latin typeface="+mn-lt"/>
                <a:ea typeface="+mn-ea"/>
                <a:cs typeface="+mn-cs"/>
              </a:defRPr>
            </a:lvl8pPr>
            <a:lvl9pPr>
              <a:defRPr lang="en-US" sz="1000" b="0" kern="1200" baseline="0" noProof="0" dirty="0" smtClean="0">
                <a:solidFill>
                  <a:schemeClr val="tx2"/>
                </a:solidFill>
                <a:latin typeface="+mn-lt"/>
                <a:ea typeface="+mn-ea"/>
                <a:cs typeface="+mn-cs"/>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18" name="icon 1">
            <a:extLst>
              <a:ext uri="{FF2B5EF4-FFF2-40B4-BE49-F238E27FC236}">
                <a16:creationId xmlns:a16="http://schemas.microsoft.com/office/drawing/2014/main" id="{BF2DF158-C122-E218-BDE2-5E6595D1B8CA}"/>
              </a:ext>
            </a:extLst>
          </p:cNvPr>
          <p:cNvSpPr>
            <a:spLocks noGrp="1"/>
          </p:cNvSpPr>
          <p:nvPr>
            <p:ph sz="quarter" idx="23"/>
          </p:nvPr>
        </p:nvSpPr>
        <p:spPr>
          <a:xfrm>
            <a:off x="1962900" y="2628000"/>
            <a:ext cx="540000" cy="540000"/>
          </a:xfrm>
        </p:spPr>
        <p:txBody>
          <a:bodyPr rIns="108000"/>
          <a:lstStyle>
            <a:lvl1pPr>
              <a:lnSpc>
                <a:spcPts val="1400"/>
              </a:lnSpc>
              <a:defRPr lang="en-DE"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5" name="title">
            <a:extLst>
              <a:ext uri="{FF2B5EF4-FFF2-40B4-BE49-F238E27FC236}">
                <a16:creationId xmlns:a16="http://schemas.microsoft.com/office/drawing/2014/main" id="{A40CDE67-43E3-2705-8865-2677F3CF4561}"/>
              </a:ext>
            </a:extLst>
          </p:cNvPr>
          <p:cNvSpPr>
            <a:spLocks noGrp="1"/>
          </p:cNvSpPr>
          <p:nvPr>
            <p:ph type="title"/>
          </p:nvPr>
        </p:nvSpPr>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BC82E269-B945-9E98-D88A-B9E0B906BD92}"/>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349303335"/>
      </p:ext>
    </p:extLst>
  </p:cSld>
  <p:clrMapOvr>
    <a:masterClrMapping/>
  </p:clrMapOvr>
  <p:extLst>
    <p:ext uri="{DCECCB84-F9BA-43D5-87BE-67443E8EF086}">
      <p15:sldGuideLst xmlns:p15="http://schemas.microsoft.com/office/powerpoint/2012/main">
        <p15:guide id="1" orient="horz" pos="152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  025 : 3 text boxes : Icons">
    <p:spTree>
      <p:nvGrpSpPr>
        <p:cNvPr id="1" name=""/>
        <p:cNvGrpSpPr/>
        <p:nvPr/>
      </p:nvGrpSpPr>
      <p:grpSpPr>
        <a:xfrm>
          <a:off x="0" y="0"/>
          <a:ext cx="0" cy="0"/>
          <a:chOff x="0" y="0"/>
          <a:chExt cx="0" cy="0"/>
        </a:xfrm>
      </p:grpSpPr>
      <p:sp>
        <p:nvSpPr>
          <p:cNvPr id="11" name="slide number">
            <a:extLst>
              <a:ext uri="{FF2B5EF4-FFF2-40B4-BE49-F238E27FC236}">
                <a16:creationId xmlns:a16="http://schemas.microsoft.com/office/drawing/2014/main" id="{C9BA3CE1-F4C3-2C3D-C372-01096BC0A071}"/>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9C96A835-E90E-5839-1566-B4738150090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4" name="date">
            <a:extLst>
              <a:ext uri="{FF2B5EF4-FFF2-40B4-BE49-F238E27FC236}">
                <a16:creationId xmlns:a16="http://schemas.microsoft.com/office/drawing/2014/main" id="{61BC8F3A-DE2E-C831-0500-7FA96995AB4D}"/>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3" name="text 4">
            <a:extLst>
              <a:ext uri="{FF2B5EF4-FFF2-40B4-BE49-F238E27FC236}">
                <a16:creationId xmlns:a16="http://schemas.microsoft.com/office/drawing/2014/main" id="{A1FE09D6-F50B-58D0-9D25-2A26AF1045C4}"/>
              </a:ext>
            </a:extLst>
          </p:cNvPr>
          <p:cNvSpPr>
            <a:spLocks noGrp="1"/>
          </p:cNvSpPr>
          <p:nvPr>
            <p:ph type="body" idx="1"/>
          </p:nvPr>
        </p:nvSpPr>
        <p:spPr>
          <a:xfrm>
            <a:off x="540000" y="1476000"/>
            <a:ext cx="11088000" cy="1440000"/>
          </a:xfrm>
          <a:prstGeom prst="roundRect">
            <a:avLst>
              <a:gd name="adj" fmla="val 5828"/>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lIns="0" tIns="288000" rIns="0" bIns="0" rtlCol="0" anchor="t" anchorCtr="1">
            <a:noAutofit/>
          </a:bodyPr>
          <a:lstStyle>
            <a:lvl1pPr>
              <a:defRPr lang="en-US" sz="1800">
                <a:solidFill>
                  <a:schemeClr val="bg1"/>
                </a:solidFill>
                <a:latin typeface="+mj-lt"/>
              </a:defRPr>
            </a:lvl1pPr>
          </a:lstStyle>
          <a:p>
            <a:pPr lvl="0" algn="ctr"/>
            <a:r>
              <a:rPr lang="de-DE"/>
              <a:t>Mastertextformat bearbeiten</a:t>
            </a:r>
          </a:p>
        </p:txBody>
      </p:sp>
      <p:sp>
        <p:nvSpPr>
          <p:cNvPr id="37" name="text 3">
            <a:extLst>
              <a:ext uri="{FF2B5EF4-FFF2-40B4-BE49-F238E27FC236}">
                <a16:creationId xmlns:a16="http://schemas.microsoft.com/office/drawing/2014/main" id="{4C7A74BA-677D-44AF-0C2A-FDAE4A7E8131}"/>
              </a:ext>
            </a:extLst>
          </p:cNvPr>
          <p:cNvSpPr>
            <a:spLocks noGrp="1"/>
          </p:cNvSpPr>
          <p:nvPr>
            <p:ph type="body" sz="quarter" idx="34" hasCustomPrompt="1"/>
          </p:nvPr>
        </p:nvSpPr>
        <p:spPr>
          <a:xfrm>
            <a:off x="8113138" y="2412000"/>
            <a:ext cx="3240000" cy="3600000"/>
          </a:xfrm>
          <a:prstGeom prst="roundRect">
            <a:avLst>
              <a:gd name="adj" fmla="val 2115"/>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dirty="0" smtClean="0"/>
            </a:lvl1pPr>
            <a:lvl2pPr>
              <a:defRPr lang="en-US" sz="1000" dirty="0" smtClean="0"/>
            </a:lvl2pPr>
            <a:lvl3pPr>
              <a:defRPr lang="en-US" sz="1000" dirty="0" smtClean="0"/>
            </a:lvl3pPr>
            <a:lvl4pPr>
              <a:defRPr lang="en-US" sz="1000" dirty="0" smtClean="0">
                <a:solidFill>
                  <a:schemeClr val="tx2"/>
                </a:solidFill>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dirty="0" smtClean="0">
                <a:solidFill>
                  <a:schemeClr val="tx2"/>
                </a:solidFill>
                <a:ea typeface="+mn-ea"/>
                <a:cs typeface="+mn-cs"/>
              </a:defRPr>
            </a:lvl6pPr>
            <a:lvl7pPr>
              <a:defRPr lang="en-US" sz="1000" b="0" baseline="0" dirty="0" smtClean="0"/>
            </a:lvl7pPr>
            <a:lvl8pPr>
              <a:defRPr lang="en-US" sz="1000" b="0" baseline="0" dirty="0" smtClean="0"/>
            </a:lvl8pPr>
            <a:lvl9pPr>
              <a:defRPr lang="en-US" sz="1000" b="0" dirty="0" smtClean="0">
                <a:latin typeface="+mn-lt"/>
                <a:cs typeface="+mn-cs"/>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24" name="Icon 3">
            <a:extLst>
              <a:ext uri="{FF2B5EF4-FFF2-40B4-BE49-F238E27FC236}">
                <a16:creationId xmlns:a16="http://schemas.microsoft.com/office/drawing/2014/main" id="{59748B2D-BB1C-8085-B717-CE69ADE160FD}"/>
              </a:ext>
            </a:extLst>
          </p:cNvPr>
          <p:cNvSpPr>
            <a:spLocks noGrp="1"/>
          </p:cNvSpPr>
          <p:nvPr>
            <p:ph sz="quarter" idx="27"/>
          </p:nvPr>
        </p:nvSpPr>
        <p:spPr>
          <a:xfrm>
            <a:off x="8309643" y="2628000"/>
            <a:ext cx="540000" cy="540000"/>
          </a:xfrm>
        </p:spPr>
        <p:txBody>
          <a:bodyPr/>
          <a:lstStyle>
            <a:lvl1pPr>
              <a:lnSpc>
                <a:spcPts val="1400"/>
              </a:lnSpc>
              <a:defRPr lang="en-DE"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6" name="text 2">
            <a:extLst>
              <a:ext uri="{FF2B5EF4-FFF2-40B4-BE49-F238E27FC236}">
                <a16:creationId xmlns:a16="http://schemas.microsoft.com/office/drawing/2014/main" id="{D45F2037-8D7A-7190-BD39-9CDAA2471126}"/>
              </a:ext>
            </a:extLst>
          </p:cNvPr>
          <p:cNvSpPr>
            <a:spLocks noGrp="1"/>
          </p:cNvSpPr>
          <p:nvPr>
            <p:ph type="body" sz="quarter" idx="33" hasCustomPrompt="1"/>
          </p:nvPr>
        </p:nvSpPr>
        <p:spPr>
          <a:xfrm>
            <a:off x="4469558" y="2412000"/>
            <a:ext cx="3240000" cy="3600000"/>
          </a:xfrm>
          <a:prstGeom prst="roundRect">
            <a:avLst>
              <a:gd name="adj" fmla="val 2115"/>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dirty="0" smtClean="0"/>
            </a:lvl1pPr>
            <a:lvl2pPr>
              <a:defRPr lang="en-US" sz="1000" dirty="0" smtClean="0"/>
            </a:lvl2pPr>
            <a:lvl3pPr>
              <a:defRPr lang="en-US" sz="1000" dirty="0" smtClean="0"/>
            </a:lvl3pPr>
            <a:lvl4pPr>
              <a:defRPr lang="en-US" sz="1000" dirty="0" smtClean="0">
                <a:solidFill>
                  <a:schemeClr val="tx2"/>
                </a:solidFill>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dirty="0" smtClean="0">
                <a:solidFill>
                  <a:schemeClr val="tx2"/>
                </a:solidFill>
                <a:ea typeface="+mn-ea"/>
                <a:cs typeface="+mn-cs"/>
              </a:defRPr>
            </a:lvl6pPr>
            <a:lvl7pPr>
              <a:defRPr lang="en-US" sz="1000" b="0" baseline="0" dirty="0" smtClean="0"/>
            </a:lvl7pPr>
            <a:lvl8pPr>
              <a:defRPr lang="en-US" sz="1000" b="0" baseline="0" dirty="0" smtClean="0"/>
            </a:lvl8pPr>
            <a:lvl9pPr>
              <a:defRPr lang="en-US" sz="1000" b="0" dirty="0" smtClean="0">
                <a:latin typeface="+mn-lt"/>
                <a:cs typeface="+mn-cs"/>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19" name="Icon 2">
            <a:extLst>
              <a:ext uri="{FF2B5EF4-FFF2-40B4-BE49-F238E27FC236}">
                <a16:creationId xmlns:a16="http://schemas.microsoft.com/office/drawing/2014/main" id="{EAC3B973-5857-335C-D82C-09706AD0D92F}"/>
              </a:ext>
            </a:extLst>
          </p:cNvPr>
          <p:cNvSpPr>
            <a:spLocks noGrp="1"/>
          </p:cNvSpPr>
          <p:nvPr>
            <p:ph sz="quarter" idx="24"/>
          </p:nvPr>
        </p:nvSpPr>
        <p:spPr>
          <a:xfrm>
            <a:off x="4667028" y="2628000"/>
            <a:ext cx="540000" cy="540000"/>
          </a:xfrm>
        </p:spPr>
        <p:txBody>
          <a:bodyPr/>
          <a:lstStyle>
            <a:lvl1pPr>
              <a:lnSpc>
                <a:spcPts val="1400"/>
              </a:lnSpc>
              <a:defRPr lang="en-US"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5" name="text 1">
            <a:extLst>
              <a:ext uri="{FF2B5EF4-FFF2-40B4-BE49-F238E27FC236}">
                <a16:creationId xmlns:a16="http://schemas.microsoft.com/office/drawing/2014/main" id="{927C191B-A08F-85D5-D2F2-99828DB99C61}"/>
              </a:ext>
            </a:extLst>
          </p:cNvPr>
          <p:cNvSpPr>
            <a:spLocks noGrp="1"/>
          </p:cNvSpPr>
          <p:nvPr>
            <p:ph type="body" sz="quarter" idx="29" hasCustomPrompt="1"/>
          </p:nvPr>
        </p:nvSpPr>
        <p:spPr>
          <a:xfrm>
            <a:off x="825978" y="2412000"/>
            <a:ext cx="3240000" cy="3600000"/>
          </a:xfrm>
          <a:prstGeom prst="roundRect">
            <a:avLst>
              <a:gd name="adj" fmla="val 2115"/>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lIns="180000" tIns="1044000" rIns="108000"/>
          <a:lstStyle>
            <a:lvl1pPr>
              <a:defRPr sz="1000">
                <a:latin typeface="+mn-lt"/>
              </a:defRPr>
            </a:lvl1pPr>
            <a:lvl2pPr>
              <a:defRPr sz="1000">
                <a:latin typeface="+mn-lt"/>
              </a:defRPr>
            </a:lvl2pPr>
            <a:lvl3pPr>
              <a:defRPr sz="1000">
                <a:latin typeface="+mn-lt"/>
              </a:defRPr>
            </a:lvl3pPr>
            <a:lvl4pPr>
              <a:defRPr sz="1000">
                <a:solidFill>
                  <a:schemeClr val="tx2"/>
                </a:solidFill>
                <a:latin typeface="+mn-lt"/>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b="0" kern="1200" baseline="0" noProof="0" dirty="0" smtClean="0">
                <a:solidFill>
                  <a:schemeClr val="tx2"/>
                </a:solidFill>
                <a:latin typeface="+mn-lt"/>
                <a:ea typeface="+mn-ea"/>
                <a:cs typeface="+mn-cs"/>
              </a:defRPr>
            </a:lvl6pPr>
            <a:lvl7pPr>
              <a:defRPr lang="en-US" sz="1000" b="0" kern="1200" baseline="0" noProof="0" dirty="0" smtClean="0">
                <a:solidFill>
                  <a:schemeClr val="tx2"/>
                </a:solidFill>
                <a:latin typeface="+mn-lt"/>
                <a:ea typeface="+mn-ea"/>
                <a:cs typeface="+mn-cs"/>
              </a:defRPr>
            </a:lvl7pPr>
            <a:lvl8pPr>
              <a:defRPr lang="en-US" sz="1000" b="0" kern="1200" baseline="0" noProof="0" dirty="0" smtClean="0">
                <a:solidFill>
                  <a:schemeClr val="tx2"/>
                </a:solidFill>
                <a:latin typeface="+mn-lt"/>
                <a:ea typeface="+mn-ea"/>
                <a:cs typeface="+mn-cs"/>
              </a:defRPr>
            </a:lvl8pPr>
            <a:lvl9pPr>
              <a:defRPr lang="en-US" sz="1000" b="0" kern="1200" baseline="0" noProof="0" dirty="0" smtClean="0">
                <a:solidFill>
                  <a:schemeClr val="tx2"/>
                </a:solidFill>
                <a:latin typeface="+mn-lt"/>
                <a:ea typeface="+mn-ea"/>
                <a:cs typeface="+mn-cs"/>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18" name="Icon 1">
            <a:extLst>
              <a:ext uri="{FF2B5EF4-FFF2-40B4-BE49-F238E27FC236}">
                <a16:creationId xmlns:a16="http://schemas.microsoft.com/office/drawing/2014/main" id="{BF2DF158-C122-E218-BDE2-5E6595D1B8CA}"/>
              </a:ext>
            </a:extLst>
          </p:cNvPr>
          <p:cNvSpPr>
            <a:spLocks noGrp="1"/>
          </p:cNvSpPr>
          <p:nvPr>
            <p:ph sz="quarter" idx="23"/>
          </p:nvPr>
        </p:nvSpPr>
        <p:spPr>
          <a:xfrm>
            <a:off x="1025979" y="2628000"/>
            <a:ext cx="540000" cy="540000"/>
          </a:xfrm>
        </p:spPr>
        <p:txBody>
          <a:bodyPr rIns="108000"/>
          <a:lstStyle>
            <a:lvl1pPr>
              <a:lnSpc>
                <a:spcPts val="1400"/>
              </a:lnSpc>
              <a:defRPr lang="en-DE"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5" name="title">
            <a:extLst>
              <a:ext uri="{FF2B5EF4-FFF2-40B4-BE49-F238E27FC236}">
                <a16:creationId xmlns:a16="http://schemas.microsoft.com/office/drawing/2014/main" id="{A40CDE67-43E3-2705-8865-2677F3CF4561}"/>
              </a:ext>
            </a:extLst>
          </p:cNvPr>
          <p:cNvSpPr>
            <a:spLocks noGrp="1"/>
          </p:cNvSpPr>
          <p:nvPr>
            <p:ph type="title"/>
          </p:nvPr>
        </p:nvSpPr>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BC82E269-B945-9E98-D88A-B9E0B906BD92}"/>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435313987"/>
      </p:ext>
    </p:extLst>
  </p:cSld>
  <p:clrMapOvr>
    <a:masterClrMapping/>
  </p:clrMapOvr>
  <p:extLst>
    <p:ext uri="{DCECCB84-F9BA-43D5-87BE-67443E8EF086}">
      <p15:sldGuideLst xmlns:p15="http://schemas.microsoft.com/office/powerpoint/2012/main">
        <p15:guide id="1" orient="horz" pos="152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  025 : 4 text boxes : Icons">
    <p:spTree>
      <p:nvGrpSpPr>
        <p:cNvPr id="1" name=""/>
        <p:cNvGrpSpPr/>
        <p:nvPr/>
      </p:nvGrpSpPr>
      <p:grpSpPr>
        <a:xfrm>
          <a:off x="0" y="0"/>
          <a:ext cx="0" cy="0"/>
          <a:chOff x="0" y="0"/>
          <a:chExt cx="0" cy="0"/>
        </a:xfrm>
      </p:grpSpPr>
      <p:sp>
        <p:nvSpPr>
          <p:cNvPr id="11" name="slide number">
            <a:extLst>
              <a:ext uri="{FF2B5EF4-FFF2-40B4-BE49-F238E27FC236}">
                <a16:creationId xmlns:a16="http://schemas.microsoft.com/office/drawing/2014/main" id="{C9BA3CE1-F4C3-2C3D-C372-01096BC0A071}"/>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9C96A835-E90E-5839-1566-B4738150090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4" name="date">
            <a:extLst>
              <a:ext uri="{FF2B5EF4-FFF2-40B4-BE49-F238E27FC236}">
                <a16:creationId xmlns:a16="http://schemas.microsoft.com/office/drawing/2014/main" id="{61BC8F3A-DE2E-C831-0500-7FA96995AB4D}"/>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3" name="text 5">
            <a:extLst>
              <a:ext uri="{FF2B5EF4-FFF2-40B4-BE49-F238E27FC236}">
                <a16:creationId xmlns:a16="http://schemas.microsoft.com/office/drawing/2014/main" id="{A1FE09D6-F50B-58D0-9D25-2A26AF1045C4}"/>
              </a:ext>
            </a:extLst>
          </p:cNvPr>
          <p:cNvSpPr>
            <a:spLocks noGrp="1"/>
          </p:cNvSpPr>
          <p:nvPr>
            <p:ph type="body" idx="1"/>
          </p:nvPr>
        </p:nvSpPr>
        <p:spPr>
          <a:xfrm>
            <a:off x="540000" y="1476000"/>
            <a:ext cx="11088000" cy="1440000"/>
          </a:xfrm>
          <a:prstGeom prst="roundRect">
            <a:avLst>
              <a:gd name="adj" fmla="val 5828"/>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lIns="0" tIns="288000" rIns="0" bIns="0" rtlCol="0" anchor="t" anchorCtr="1">
            <a:noAutofit/>
          </a:bodyPr>
          <a:lstStyle>
            <a:lvl1pPr>
              <a:defRPr lang="de-DE" sz="1800">
                <a:solidFill>
                  <a:schemeClr val="bg1"/>
                </a:solidFill>
                <a:latin typeface="+mj-lt"/>
              </a:defRPr>
            </a:lvl1pPr>
          </a:lstStyle>
          <a:p>
            <a:pPr lvl="0" algn="ctr"/>
            <a:r>
              <a:rPr lang="de-DE"/>
              <a:t>Mastertextformat bearbeiten</a:t>
            </a:r>
          </a:p>
        </p:txBody>
      </p:sp>
      <p:sp>
        <p:nvSpPr>
          <p:cNvPr id="38" name="text 4">
            <a:extLst>
              <a:ext uri="{FF2B5EF4-FFF2-40B4-BE49-F238E27FC236}">
                <a16:creationId xmlns:a16="http://schemas.microsoft.com/office/drawing/2014/main" id="{766A6541-969C-FB7D-0491-0D3E07636CF8}"/>
              </a:ext>
            </a:extLst>
          </p:cNvPr>
          <p:cNvSpPr>
            <a:spLocks noGrp="1"/>
          </p:cNvSpPr>
          <p:nvPr>
            <p:ph type="body" sz="quarter" idx="35" hasCustomPrompt="1"/>
          </p:nvPr>
        </p:nvSpPr>
        <p:spPr>
          <a:xfrm>
            <a:off x="8729180" y="2412000"/>
            <a:ext cx="2340000" cy="3600000"/>
          </a:xfrm>
          <a:prstGeom prst="roundRect">
            <a:avLst>
              <a:gd name="adj" fmla="val 2115"/>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dirty="0" smtClean="0"/>
            </a:lvl1pPr>
            <a:lvl2pPr>
              <a:defRPr lang="en-US" sz="1000" dirty="0" smtClean="0"/>
            </a:lvl2pPr>
            <a:lvl3pPr>
              <a:defRPr lang="en-US" sz="1000" dirty="0" smtClean="0"/>
            </a:lvl3pPr>
            <a:lvl4pPr>
              <a:defRPr lang="en-US" sz="1000" dirty="0" smtClean="0">
                <a:solidFill>
                  <a:schemeClr val="tx2"/>
                </a:solidFill>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dirty="0" smtClean="0">
                <a:solidFill>
                  <a:schemeClr val="tx2"/>
                </a:solidFill>
                <a:ea typeface="+mn-ea"/>
                <a:cs typeface="+mn-cs"/>
              </a:defRPr>
            </a:lvl6pPr>
            <a:lvl7pPr>
              <a:defRPr lang="en-US" sz="1000" b="0" baseline="0" dirty="0" smtClean="0"/>
            </a:lvl7pPr>
            <a:lvl8pPr>
              <a:defRPr lang="en-US" sz="1000" b="0" baseline="0" dirty="0" smtClean="0"/>
            </a:lvl8pPr>
            <a:lvl9pPr>
              <a:defRPr lang="en-US" sz="1000" b="0" dirty="0" smtClean="0">
                <a:latin typeface="+mn-lt"/>
                <a:cs typeface="+mn-cs"/>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25" name="Icon 4">
            <a:extLst>
              <a:ext uri="{FF2B5EF4-FFF2-40B4-BE49-F238E27FC236}">
                <a16:creationId xmlns:a16="http://schemas.microsoft.com/office/drawing/2014/main" id="{A69C5009-BBB2-3F4E-2F00-D126B2AA567E}"/>
              </a:ext>
            </a:extLst>
          </p:cNvPr>
          <p:cNvSpPr>
            <a:spLocks noGrp="1"/>
          </p:cNvSpPr>
          <p:nvPr>
            <p:ph sz="quarter" idx="28"/>
          </p:nvPr>
        </p:nvSpPr>
        <p:spPr>
          <a:xfrm>
            <a:off x="8928610" y="2628000"/>
            <a:ext cx="540000" cy="540000"/>
          </a:xfrm>
        </p:spPr>
        <p:txBody>
          <a:bodyPr/>
          <a:lstStyle>
            <a:lvl1pPr>
              <a:lnSpc>
                <a:spcPts val="1400"/>
              </a:lnSpc>
              <a:defRPr lang="en-DE"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7" name="text 3">
            <a:extLst>
              <a:ext uri="{FF2B5EF4-FFF2-40B4-BE49-F238E27FC236}">
                <a16:creationId xmlns:a16="http://schemas.microsoft.com/office/drawing/2014/main" id="{4C7A74BA-677D-44AF-0C2A-FDAE4A7E8131}"/>
              </a:ext>
            </a:extLst>
          </p:cNvPr>
          <p:cNvSpPr>
            <a:spLocks noGrp="1"/>
          </p:cNvSpPr>
          <p:nvPr>
            <p:ph type="body" sz="quarter" idx="34" hasCustomPrompt="1"/>
          </p:nvPr>
        </p:nvSpPr>
        <p:spPr>
          <a:xfrm>
            <a:off x="6203454" y="2412000"/>
            <a:ext cx="2340000" cy="3600000"/>
          </a:xfrm>
          <a:prstGeom prst="roundRect">
            <a:avLst>
              <a:gd name="adj" fmla="val 2115"/>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dirty="0" smtClean="0"/>
            </a:lvl1pPr>
            <a:lvl2pPr>
              <a:defRPr lang="en-US" sz="1000" dirty="0" smtClean="0"/>
            </a:lvl2pPr>
            <a:lvl3pPr>
              <a:defRPr lang="en-US" sz="1000" dirty="0" smtClean="0"/>
            </a:lvl3pPr>
            <a:lvl4pPr>
              <a:defRPr lang="en-US" sz="1000" dirty="0" smtClean="0">
                <a:solidFill>
                  <a:schemeClr val="tx2"/>
                </a:solidFill>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dirty="0" smtClean="0">
                <a:solidFill>
                  <a:schemeClr val="tx2"/>
                </a:solidFill>
                <a:ea typeface="+mn-ea"/>
                <a:cs typeface="+mn-cs"/>
              </a:defRPr>
            </a:lvl6pPr>
            <a:lvl7pPr>
              <a:defRPr lang="en-US" sz="1000" b="0" baseline="0" dirty="0" smtClean="0"/>
            </a:lvl7pPr>
            <a:lvl8pPr>
              <a:defRPr lang="en-US" sz="1000" b="0" baseline="0" dirty="0" smtClean="0"/>
            </a:lvl8pPr>
            <a:lvl9pPr>
              <a:defRPr lang="en-US" sz="1000" b="0" dirty="0" smtClean="0">
                <a:latin typeface="+mn-lt"/>
                <a:cs typeface="+mn-cs"/>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24" name="Icon 3">
            <a:extLst>
              <a:ext uri="{FF2B5EF4-FFF2-40B4-BE49-F238E27FC236}">
                <a16:creationId xmlns:a16="http://schemas.microsoft.com/office/drawing/2014/main" id="{59748B2D-BB1C-8085-B717-CE69ADE160FD}"/>
              </a:ext>
            </a:extLst>
          </p:cNvPr>
          <p:cNvSpPr>
            <a:spLocks noGrp="1"/>
          </p:cNvSpPr>
          <p:nvPr>
            <p:ph sz="quarter" idx="27"/>
          </p:nvPr>
        </p:nvSpPr>
        <p:spPr>
          <a:xfrm>
            <a:off x="6407294" y="2628000"/>
            <a:ext cx="540000" cy="540000"/>
          </a:xfrm>
        </p:spPr>
        <p:txBody>
          <a:bodyPr/>
          <a:lstStyle>
            <a:lvl1pPr>
              <a:lnSpc>
                <a:spcPts val="1400"/>
              </a:lnSpc>
              <a:defRPr lang="en-DE"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6" name="text 2">
            <a:extLst>
              <a:ext uri="{FF2B5EF4-FFF2-40B4-BE49-F238E27FC236}">
                <a16:creationId xmlns:a16="http://schemas.microsoft.com/office/drawing/2014/main" id="{D45F2037-8D7A-7190-BD39-9CDAA2471126}"/>
              </a:ext>
            </a:extLst>
          </p:cNvPr>
          <p:cNvSpPr>
            <a:spLocks noGrp="1"/>
          </p:cNvSpPr>
          <p:nvPr>
            <p:ph type="body" sz="quarter" idx="33" hasCustomPrompt="1"/>
          </p:nvPr>
        </p:nvSpPr>
        <p:spPr>
          <a:xfrm>
            <a:off x="3677727" y="2412000"/>
            <a:ext cx="2340000" cy="3600000"/>
          </a:xfrm>
          <a:prstGeom prst="roundRect">
            <a:avLst>
              <a:gd name="adj" fmla="val 2115"/>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dirty="0" smtClean="0"/>
            </a:lvl1pPr>
            <a:lvl2pPr>
              <a:defRPr lang="en-US" sz="1000" dirty="0" smtClean="0"/>
            </a:lvl2pPr>
            <a:lvl3pPr>
              <a:defRPr lang="en-US" sz="1000" dirty="0" smtClean="0"/>
            </a:lvl3pPr>
            <a:lvl4pPr>
              <a:defRPr lang="en-US" sz="1000" dirty="0" smtClean="0">
                <a:solidFill>
                  <a:schemeClr val="tx2"/>
                </a:solidFill>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dirty="0" smtClean="0">
                <a:solidFill>
                  <a:schemeClr val="tx2"/>
                </a:solidFill>
                <a:ea typeface="+mn-ea"/>
                <a:cs typeface="+mn-cs"/>
              </a:defRPr>
            </a:lvl6pPr>
            <a:lvl7pPr>
              <a:defRPr lang="en-US" sz="1000" b="0" baseline="0" dirty="0" smtClean="0"/>
            </a:lvl7pPr>
            <a:lvl8pPr>
              <a:defRPr lang="en-US" sz="1000" b="0" baseline="0" dirty="0" smtClean="0"/>
            </a:lvl8pPr>
            <a:lvl9pPr>
              <a:defRPr lang="en-US" sz="1000" b="0" dirty="0" smtClean="0">
                <a:latin typeface="+mn-lt"/>
                <a:cs typeface="+mn-cs"/>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19" name="Icon 2">
            <a:extLst>
              <a:ext uri="{FF2B5EF4-FFF2-40B4-BE49-F238E27FC236}">
                <a16:creationId xmlns:a16="http://schemas.microsoft.com/office/drawing/2014/main" id="{EAC3B973-5857-335C-D82C-09706AD0D92F}"/>
              </a:ext>
            </a:extLst>
          </p:cNvPr>
          <p:cNvSpPr>
            <a:spLocks noGrp="1"/>
          </p:cNvSpPr>
          <p:nvPr>
            <p:ph sz="quarter" idx="24"/>
          </p:nvPr>
        </p:nvSpPr>
        <p:spPr>
          <a:xfrm>
            <a:off x="3885978" y="2628000"/>
            <a:ext cx="540000" cy="540000"/>
          </a:xfrm>
        </p:spPr>
        <p:txBody>
          <a:bodyPr/>
          <a:lstStyle>
            <a:lvl1pPr>
              <a:lnSpc>
                <a:spcPts val="1400"/>
              </a:lnSpc>
              <a:defRPr lang="en-US"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5" name="text 1">
            <a:extLst>
              <a:ext uri="{FF2B5EF4-FFF2-40B4-BE49-F238E27FC236}">
                <a16:creationId xmlns:a16="http://schemas.microsoft.com/office/drawing/2014/main" id="{927C191B-A08F-85D5-D2F2-99828DB99C61}"/>
              </a:ext>
            </a:extLst>
          </p:cNvPr>
          <p:cNvSpPr>
            <a:spLocks noGrp="1"/>
          </p:cNvSpPr>
          <p:nvPr>
            <p:ph type="body" sz="quarter" idx="29" hasCustomPrompt="1"/>
          </p:nvPr>
        </p:nvSpPr>
        <p:spPr>
          <a:xfrm>
            <a:off x="1152000" y="2412000"/>
            <a:ext cx="2340000" cy="3600000"/>
          </a:xfrm>
          <a:prstGeom prst="roundRect">
            <a:avLst>
              <a:gd name="adj" fmla="val 2115"/>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lIns="180000" tIns="1044000" rIns="108000"/>
          <a:lstStyle>
            <a:lvl1pPr>
              <a:defRPr sz="1000">
                <a:latin typeface="+mn-lt"/>
              </a:defRPr>
            </a:lvl1pPr>
            <a:lvl2pPr>
              <a:defRPr sz="1000">
                <a:latin typeface="+mn-lt"/>
              </a:defRPr>
            </a:lvl2pPr>
            <a:lvl3pPr>
              <a:defRPr sz="1000">
                <a:latin typeface="+mn-lt"/>
              </a:defRPr>
            </a:lvl3pPr>
            <a:lvl4pPr>
              <a:defRPr sz="1000">
                <a:solidFill>
                  <a:schemeClr val="tx2"/>
                </a:solidFill>
                <a:latin typeface="+mn-lt"/>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b="0" kern="1200" baseline="0" noProof="0" dirty="0" smtClean="0">
                <a:solidFill>
                  <a:schemeClr val="tx2"/>
                </a:solidFill>
                <a:latin typeface="+mn-lt"/>
                <a:ea typeface="+mn-ea"/>
                <a:cs typeface="+mn-cs"/>
              </a:defRPr>
            </a:lvl6pPr>
            <a:lvl7pPr>
              <a:defRPr lang="en-US" sz="1000" b="0" kern="1200" baseline="0" noProof="0" dirty="0" smtClean="0">
                <a:solidFill>
                  <a:schemeClr val="tx2"/>
                </a:solidFill>
                <a:latin typeface="+mn-lt"/>
                <a:ea typeface="+mn-ea"/>
                <a:cs typeface="+mn-cs"/>
              </a:defRPr>
            </a:lvl7pPr>
            <a:lvl8pPr>
              <a:defRPr lang="en-US" sz="1000" b="0" kern="1200" baseline="0" noProof="0" dirty="0" smtClean="0">
                <a:solidFill>
                  <a:schemeClr val="tx2"/>
                </a:solidFill>
                <a:latin typeface="+mn-lt"/>
                <a:ea typeface="+mn-ea"/>
                <a:cs typeface="+mn-cs"/>
              </a:defRPr>
            </a:lvl8pPr>
            <a:lvl9pPr>
              <a:defRPr lang="en-US" sz="1000" b="0" kern="1200" baseline="0" noProof="0" dirty="0" smtClean="0">
                <a:solidFill>
                  <a:schemeClr val="tx2"/>
                </a:solidFill>
                <a:latin typeface="+mn-lt"/>
                <a:ea typeface="+mn-ea"/>
                <a:cs typeface="+mn-cs"/>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18" name="Icon 1">
            <a:extLst>
              <a:ext uri="{FF2B5EF4-FFF2-40B4-BE49-F238E27FC236}">
                <a16:creationId xmlns:a16="http://schemas.microsoft.com/office/drawing/2014/main" id="{BF2DF158-C122-E218-BDE2-5E6595D1B8CA}"/>
              </a:ext>
            </a:extLst>
          </p:cNvPr>
          <p:cNvSpPr>
            <a:spLocks noGrp="1"/>
          </p:cNvSpPr>
          <p:nvPr>
            <p:ph sz="quarter" idx="23"/>
          </p:nvPr>
        </p:nvSpPr>
        <p:spPr>
          <a:xfrm>
            <a:off x="1364662" y="2628000"/>
            <a:ext cx="540000" cy="540000"/>
          </a:xfrm>
        </p:spPr>
        <p:txBody>
          <a:bodyPr rIns="108000"/>
          <a:lstStyle>
            <a:lvl1pPr>
              <a:lnSpc>
                <a:spcPts val="1400"/>
              </a:lnSpc>
              <a:defRPr lang="en-DE"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5" name="title">
            <a:extLst>
              <a:ext uri="{FF2B5EF4-FFF2-40B4-BE49-F238E27FC236}">
                <a16:creationId xmlns:a16="http://schemas.microsoft.com/office/drawing/2014/main" id="{A40CDE67-43E3-2705-8865-2677F3CF4561}"/>
              </a:ext>
            </a:extLst>
          </p:cNvPr>
          <p:cNvSpPr>
            <a:spLocks noGrp="1"/>
          </p:cNvSpPr>
          <p:nvPr>
            <p:ph type="title"/>
          </p:nvPr>
        </p:nvSpPr>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BC82E269-B945-9E98-D88A-B9E0B906BD92}"/>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3970630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  025 : 5 text boxes : Icons">
    <p:spTree>
      <p:nvGrpSpPr>
        <p:cNvPr id="1" name=""/>
        <p:cNvGrpSpPr/>
        <p:nvPr/>
      </p:nvGrpSpPr>
      <p:grpSpPr>
        <a:xfrm>
          <a:off x="0" y="0"/>
          <a:ext cx="0" cy="0"/>
          <a:chOff x="0" y="0"/>
          <a:chExt cx="0" cy="0"/>
        </a:xfrm>
      </p:grpSpPr>
      <p:sp>
        <p:nvSpPr>
          <p:cNvPr id="11" name="slide number">
            <a:extLst>
              <a:ext uri="{FF2B5EF4-FFF2-40B4-BE49-F238E27FC236}">
                <a16:creationId xmlns:a16="http://schemas.microsoft.com/office/drawing/2014/main" id="{C9BA3CE1-F4C3-2C3D-C372-01096BC0A071}"/>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9C96A835-E90E-5839-1566-B4738150090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4" name="date">
            <a:extLst>
              <a:ext uri="{FF2B5EF4-FFF2-40B4-BE49-F238E27FC236}">
                <a16:creationId xmlns:a16="http://schemas.microsoft.com/office/drawing/2014/main" id="{61BC8F3A-DE2E-C831-0500-7FA96995AB4D}"/>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3" name="text 6">
            <a:extLst>
              <a:ext uri="{FF2B5EF4-FFF2-40B4-BE49-F238E27FC236}">
                <a16:creationId xmlns:a16="http://schemas.microsoft.com/office/drawing/2014/main" id="{A1FE09D6-F50B-58D0-9D25-2A26AF1045C4}"/>
              </a:ext>
            </a:extLst>
          </p:cNvPr>
          <p:cNvSpPr>
            <a:spLocks noGrp="1"/>
          </p:cNvSpPr>
          <p:nvPr>
            <p:ph type="body" idx="1"/>
          </p:nvPr>
        </p:nvSpPr>
        <p:spPr>
          <a:xfrm>
            <a:off x="540000" y="1476000"/>
            <a:ext cx="11088000" cy="1440000"/>
          </a:xfrm>
          <a:prstGeom prst="roundRect">
            <a:avLst>
              <a:gd name="adj" fmla="val 5828"/>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lIns="0" tIns="288000" rIns="0" bIns="0" rtlCol="0" anchor="t" anchorCtr="1">
            <a:noAutofit/>
          </a:bodyPr>
          <a:lstStyle>
            <a:lvl1pPr>
              <a:defRPr lang="de-DE" sz="1800">
                <a:solidFill>
                  <a:schemeClr val="bg1"/>
                </a:solidFill>
                <a:latin typeface="+mj-lt"/>
              </a:defRPr>
            </a:lvl1pPr>
          </a:lstStyle>
          <a:p>
            <a:pPr lvl="0" algn="ctr"/>
            <a:r>
              <a:rPr lang="de-DE"/>
              <a:t>Mastertextformat bearbeiten</a:t>
            </a:r>
          </a:p>
        </p:txBody>
      </p:sp>
      <p:sp>
        <p:nvSpPr>
          <p:cNvPr id="2" name="text 5">
            <a:extLst>
              <a:ext uri="{FF2B5EF4-FFF2-40B4-BE49-F238E27FC236}">
                <a16:creationId xmlns:a16="http://schemas.microsoft.com/office/drawing/2014/main" id="{9728757F-0C7B-0318-7F5E-D0DC8E1253BA}"/>
              </a:ext>
            </a:extLst>
          </p:cNvPr>
          <p:cNvSpPr>
            <a:spLocks noGrp="1"/>
          </p:cNvSpPr>
          <p:nvPr>
            <p:ph type="body" sz="quarter" idx="36" hasCustomPrompt="1"/>
          </p:nvPr>
        </p:nvSpPr>
        <p:spPr>
          <a:xfrm>
            <a:off x="9432000" y="2412000"/>
            <a:ext cx="1980000" cy="3600000"/>
          </a:xfrm>
          <a:prstGeom prst="roundRect">
            <a:avLst>
              <a:gd name="adj" fmla="val 2115"/>
            </a:avLst>
          </a:prstGeom>
          <a:solidFill>
            <a:schemeClr val="bg1"/>
          </a:solidFill>
          <a:ln w="6350">
            <a:solidFill>
              <a:schemeClr val="accent4">
                <a:lumMod val="90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dirty="0"/>
            </a:lvl1pPr>
            <a:lvl2pPr>
              <a:defRPr lang="en-US" sz="1000" smtClean="0"/>
            </a:lvl2pPr>
            <a:lvl3pPr>
              <a:defRPr lang="en-US" sz="1000" smtClean="0"/>
            </a:lvl3pPr>
            <a:lvl4pPr>
              <a:defRPr lang="en-US" sz="1000" smtClean="0">
                <a:solidFill>
                  <a:schemeClr val="tx2"/>
                </a:solidFill>
              </a:defRPr>
            </a:lvl4pPr>
            <a:lvl5pPr>
              <a:defRPr lang="en-US" sz="1200" smtClean="0">
                <a:gradFill>
                  <a:gsLst>
                    <a:gs pos="0">
                      <a:srgbClr val="FF4B4B"/>
                    </a:gs>
                    <a:gs pos="99000">
                      <a:srgbClr val="FF744F"/>
                    </a:gs>
                  </a:gsLst>
                  <a:lin ang="18900000" scaled="0"/>
                </a:gradFill>
              </a:defRPr>
            </a:lvl5pPr>
            <a:lvl6pPr>
              <a:defRPr lang="en-US" sz="1000" smtClean="0">
                <a:solidFill>
                  <a:schemeClr val="tx2"/>
                </a:solidFill>
                <a:ea typeface="+mn-ea"/>
                <a:cs typeface="+mn-cs"/>
              </a:defRPr>
            </a:lvl6pPr>
            <a:lvl7pPr>
              <a:defRPr lang="en-US" sz="1000" b="0" baseline="0" smtClean="0"/>
            </a:lvl7pPr>
            <a:lvl8pPr>
              <a:defRPr lang="en-US" sz="1000" b="0" baseline="0" smtClean="0"/>
            </a:lvl8pPr>
            <a:lvl9pPr>
              <a:defRPr lang="en-US" sz="1000" b="0" smtClean="0">
                <a:latin typeface="+mn-lt"/>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3" name="Icon 5">
            <a:extLst>
              <a:ext uri="{FF2B5EF4-FFF2-40B4-BE49-F238E27FC236}">
                <a16:creationId xmlns:a16="http://schemas.microsoft.com/office/drawing/2014/main" id="{D6B1A58F-285B-F5A0-916D-E40954CC277F}"/>
              </a:ext>
            </a:extLst>
          </p:cNvPr>
          <p:cNvSpPr>
            <a:spLocks noGrp="1"/>
          </p:cNvSpPr>
          <p:nvPr>
            <p:ph sz="quarter" idx="37"/>
          </p:nvPr>
        </p:nvSpPr>
        <p:spPr>
          <a:xfrm>
            <a:off x="9623572" y="2628000"/>
            <a:ext cx="540000" cy="540000"/>
          </a:xfrm>
          <a:noFill/>
        </p:spPr>
        <p:txBody>
          <a:bodyPr vert="horz" lIns="0" tIns="0" rIns="108000" bIns="0" rtlCol="0">
            <a:noAutofit/>
          </a:bodyPr>
          <a:lstStyle>
            <a:lvl1pPr>
              <a:defRPr lang="de-DE" sz="1000">
                <a:ln>
                  <a:solidFill>
                    <a:srgbClr val="FF4B4B"/>
                  </a:solidFill>
                </a:ln>
                <a:solidFill>
                  <a:srgbClr val="FF4B4B"/>
                </a:solidFill>
              </a:defRPr>
            </a:lvl1pPr>
          </a:lstStyle>
          <a:p>
            <a:pPr lvl="0">
              <a:lnSpc>
                <a:spcPts val="1400"/>
              </a:lnSpc>
            </a:pPr>
            <a:r>
              <a:rPr lang="de-DE"/>
              <a:t>Mastertextformat bearbeiten</a:t>
            </a:r>
          </a:p>
        </p:txBody>
      </p:sp>
      <p:sp>
        <p:nvSpPr>
          <p:cNvPr id="38" name="text 4">
            <a:extLst>
              <a:ext uri="{FF2B5EF4-FFF2-40B4-BE49-F238E27FC236}">
                <a16:creationId xmlns:a16="http://schemas.microsoft.com/office/drawing/2014/main" id="{766A6541-969C-FB7D-0491-0D3E07636CF8}"/>
              </a:ext>
            </a:extLst>
          </p:cNvPr>
          <p:cNvSpPr>
            <a:spLocks noGrp="1"/>
          </p:cNvSpPr>
          <p:nvPr>
            <p:ph type="body" sz="quarter" idx="35" hasCustomPrompt="1"/>
          </p:nvPr>
        </p:nvSpPr>
        <p:spPr>
          <a:xfrm>
            <a:off x="7263108" y="2412000"/>
            <a:ext cx="1980000" cy="3600000"/>
          </a:xfrm>
          <a:prstGeom prst="roundRect">
            <a:avLst>
              <a:gd name="adj" fmla="val 2115"/>
            </a:avLst>
          </a:prstGeom>
          <a:solidFill>
            <a:schemeClr val="bg1"/>
          </a:solidFill>
          <a:ln w="6350">
            <a:solidFill>
              <a:schemeClr val="accent4">
                <a:lumMod val="90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dirty="0"/>
            </a:lvl1pPr>
            <a:lvl2pPr>
              <a:defRPr lang="en-US" sz="1000" smtClean="0"/>
            </a:lvl2pPr>
            <a:lvl3pPr>
              <a:defRPr lang="en-US" sz="1000" smtClean="0"/>
            </a:lvl3pPr>
            <a:lvl4pPr>
              <a:defRPr lang="en-US" sz="1000" smtClean="0">
                <a:solidFill>
                  <a:schemeClr val="tx2"/>
                </a:solidFill>
              </a:defRPr>
            </a:lvl4pPr>
            <a:lvl5pPr>
              <a:defRPr lang="en-US" sz="1200" smtClean="0">
                <a:gradFill>
                  <a:gsLst>
                    <a:gs pos="0">
                      <a:srgbClr val="FF4B4B"/>
                    </a:gs>
                    <a:gs pos="99000">
                      <a:srgbClr val="FF744F"/>
                    </a:gs>
                  </a:gsLst>
                  <a:lin ang="18900000" scaled="0"/>
                </a:gradFill>
              </a:defRPr>
            </a:lvl5pPr>
            <a:lvl6pPr>
              <a:defRPr lang="en-US" sz="1000" smtClean="0">
                <a:solidFill>
                  <a:schemeClr val="tx2"/>
                </a:solidFill>
                <a:ea typeface="+mn-ea"/>
                <a:cs typeface="+mn-cs"/>
              </a:defRPr>
            </a:lvl6pPr>
            <a:lvl7pPr>
              <a:defRPr lang="en-US" sz="1000" b="0" baseline="0" smtClean="0"/>
            </a:lvl7pPr>
            <a:lvl8pPr>
              <a:defRPr lang="en-US" sz="1000" b="0" baseline="0" smtClean="0"/>
            </a:lvl8pPr>
            <a:lvl9pPr>
              <a:defRPr lang="en-US" sz="1000" b="0" smtClean="0">
                <a:latin typeface="+mn-lt"/>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25" name="Icon 4">
            <a:extLst>
              <a:ext uri="{FF2B5EF4-FFF2-40B4-BE49-F238E27FC236}">
                <a16:creationId xmlns:a16="http://schemas.microsoft.com/office/drawing/2014/main" id="{A69C5009-BBB2-3F4E-2F00-D126B2AA567E}"/>
              </a:ext>
            </a:extLst>
          </p:cNvPr>
          <p:cNvSpPr>
            <a:spLocks noGrp="1"/>
          </p:cNvSpPr>
          <p:nvPr>
            <p:ph sz="quarter" idx="28"/>
          </p:nvPr>
        </p:nvSpPr>
        <p:spPr>
          <a:xfrm>
            <a:off x="7467809" y="2628000"/>
            <a:ext cx="540000" cy="540000"/>
          </a:xfrm>
          <a:noFill/>
        </p:spPr>
        <p:txBody>
          <a:bodyPr vert="horz" lIns="0" tIns="0" rIns="108000" bIns="0" rtlCol="0">
            <a:noAutofit/>
          </a:bodyPr>
          <a:lstStyle>
            <a:lvl1pPr>
              <a:defRPr lang="de-DE" sz="1000">
                <a:ln>
                  <a:solidFill>
                    <a:srgbClr val="FF4B4B"/>
                  </a:solidFill>
                </a:ln>
                <a:solidFill>
                  <a:srgbClr val="FF4B4B"/>
                </a:solidFill>
              </a:defRPr>
            </a:lvl1pPr>
          </a:lstStyle>
          <a:p>
            <a:pPr lvl="0">
              <a:lnSpc>
                <a:spcPts val="1400"/>
              </a:lnSpc>
            </a:pPr>
            <a:r>
              <a:rPr lang="de-DE"/>
              <a:t>Mastertextformat bearbeiten</a:t>
            </a:r>
          </a:p>
        </p:txBody>
      </p:sp>
      <p:sp>
        <p:nvSpPr>
          <p:cNvPr id="37" name="text 3">
            <a:extLst>
              <a:ext uri="{FF2B5EF4-FFF2-40B4-BE49-F238E27FC236}">
                <a16:creationId xmlns:a16="http://schemas.microsoft.com/office/drawing/2014/main" id="{4C7A74BA-677D-44AF-0C2A-FDAE4A7E8131}"/>
              </a:ext>
            </a:extLst>
          </p:cNvPr>
          <p:cNvSpPr>
            <a:spLocks noGrp="1"/>
          </p:cNvSpPr>
          <p:nvPr>
            <p:ph type="body" sz="quarter" idx="34" hasCustomPrompt="1"/>
          </p:nvPr>
        </p:nvSpPr>
        <p:spPr>
          <a:xfrm>
            <a:off x="5102072" y="2412000"/>
            <a:ext cx="1980000" cy="3600000"/>
          </a:xfrm>
          <a:prstGeom prst="roundRect">
            <a:avLst>
              <a:gd name="adj" fmla="val 2115"/>
            </a:avLst>
          </a:prstGeom>
          <a:solidFill>
            <a:schemeClr val="bg1"/>
          </a:solidFill>
          <a:ln w="6350">
            <a:solidFill>
              <a:schemeClr val="accent4">
                <a:lumMod val="90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dirty="0"/>
            </a:lvl1pPr>
            <a:lvl2pPr>
              <a:defRPr lang="en-US" sz="1000" smtClean="0"/>
            </a:lvl2pPr>
            <a:lvl3pPr>
              <a:defRPr lang="en-US" sz="1000" smtClean="0"/>
            </a:lvl3pPr>
            <a:lvl4pPr>
              <a:defRPr lang="en-US" sz="1000" smtClean="0">
                <a:solidFill>
                  <a:schemeClr val="tx2"/>
                </a:solidFill>
              </a:defRPr>
            </a:lvl4pPr>
            <a:lvl5pPr>
              <a:defRPr lang="en-US" sz="1200" smtClean="0">
                <a:gradFill>
                  <a:gsLst>
                    <a:gs pos="0">
                      <a:srgbClr val="FF4B4B"/>
                    </a:gs>
                    <a:gs pos="99000">
                      <a:srgbClr val="FF744F"/>
                    </a:gs>
                  </a:gsLst>
                  <a:lin ang="18900000" scaled="0"/>
                </a:gradFill>
              </a:defRPr>
            </a:lvl5pPr>
            <a:lvl6pPr>
              <a:defRPr lang="en-US" sz="1000" smtClean="0">
                <a:solidFill>
                  <a:schemeClr val="tx2"/>
                </a:solidFill>
                <a:ea typeface="+mn-ea"/>
                <a:cs typeface="+mn-cs"/>
              </a:defRPr>
            </a:lvl6pPr>
            <a:lvl7pPr>
              <a:defRPr lang="en-US" sz="1000" b="0" baseline="0" smtClean="0"/>
            </a:lvl7pPr>
            <a:lvl8pPr>
              <a:defRPr lang="en-US" sz="1000" b="0" baseline="0" smtClean="0"/>
            </a:lvl8pPr>
            <a:lvl9pPr>
              <a:defRPr lang="en-US" sz="1000" b="0" smtClean="0">
                <a:latin typeface="+mn-lt"/>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24" name="Icon 3">
            <a:extLst>
              <a:ext uri="{FF2B5EF4-FFF2-40B4-BE49-F238E27FC236}">
                <a16:creationId xmlns:a16="http://schemas.microsoft.com/office/drawing/2014/main" id="{59748B2D-BB1C-8085-B717-CE69ADE160FD}"/>
              </a:ext>
            </a:extLst>
          </p:cNvPr>
          <p:cNvSpPr>
            <a:spLocks noGrp="1"/>
          </p:cNvSpPr>
          <p:nvPr>
            <p:ph sz="quarter" idx="27"/>
          </p:nvPr>
        </p:nvSpPr>
        <p:spPr>
          <a:xfrm>
            <a:off x="5312046" y="2628000"/>
            <a:ext cx="540000" cy="540000"/>
          </a:xfrm>
          <a:noFill/>
        </p:spPr>
        <p:txBody>
          <a:bodyPr vert="horz" lIns="0" tIns="0" rIns="108000" bIns="0" rtlCol="0">
            <a:noAutofit/>
          </a:bodyPr>
          <a:lstStyle>
            <a:lvl1pPr>
              <a:defRPr lang="de-DE" sz="1000">
                <a:ln>
                  <a:solidFill>
                    <a:srgbClr val="FF4B4B"/>
                  </a:solidFill>
                </a:ln>
                <a:solidFill>
                  <a:srgbClr val="FF4B4B"/>
                </a:solidFill>
              </a:defRPr>
            </a:lvl1pPr>
          </a:lstStyle>
          <a:p>
            <a:pPr lvl="0">
              <a:lnSpc>
                <a:spcPts val="1400"/>
              </a:lnSpc>
            </a:pPr>
            <a:r>
              <a:rPr lang="de-DE"/>
              <a:t>Mastertextformat bearbeiten</a:t>
            </a:r>
          </a:p>
        </p:txBody>
      </p:sp>
      <p:sp>
        <p:nvSpPr>
          <p:cNvPr id="36" name="text 2">
            <a:extLst>
              <a:ext uri="{FF2B5EF4-FFF2-40B4-BE49-F238E27FC236}">
                <a16:creationId xmlns:a16="http://schemas.microsoft.com/office/drawing/2014/main" id="{D45F2037-8D7A-7190-BD39-9CDAA2471126}"/>
              </a:ext>
            </a:extLst>
          </p:cNvPr>
          <p:cNvSpPr>
            <a:spLocks noGrp="1"/>
          </p:cNvSpPr>
          <p:nvPr>
            <p:ph type="body" sz="quarter" idx="33" hasCustomPrompt="1"/>
          </p:nvPr>
        </p:nvSpPr>
        <p:spPr>
          <a:xfrm>
            <a:off x="2941036" y="2412000"/>
            <a:ext cx="1980000" cy="3600000"/>
          </a:xfrm>
          <a:prstGeom prst="roundRect">
            <a:avLst>
              <a:gd name="adj" fmla="val 2115"/>
            </a:avLst>
          </a:prstGeom>
          <a:solidFill>
            <a:schemeClr val="bg1"/>
          </a:solidFill>
          <a:ln w="6350">
            <a:solidFill>
              <a:schemeClr val="accent4">
                <a:lumMod val="90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dirty="0"/>
            </a:lvl1pPr>
            <a:lvl2pPr>
              <a:defRPr lang="en-US" sz="1000" smtClean="0"/>
            </a:lvl2pPr>
            <a:lvl3pPr>
              <a:defRPr lang="en-US" sz="1000" smtClean="0"/>
            </a:lvl3pPr>
            <a:lvl4pPr>
              <a:defRPr lang="en-US" sz="1000" smtClean="0">
                <a:solidFill>
                  <a:schemeClr val="tx2"/>
                </a:solidFill>
              </a:defRPr>
            </a:lvl4pPr>
            <a:lvl5pPr>
              <a:defRPr lang="en-US" sz="1200" smtClean="0">
                <a:gradFill>
                  <a:gsLst>
                    <a:gs pos="0">
                      <a:srgbClr val="FF4B4B"/>
                    </a:gs>
                    <a:gs pos="99000">
                      <a:srgbClr val="FF744F"/>
                    </a:gs>
                  </a:gsLst>
                  <a:lin ang="18900000" scaled="0"/>
                </a:gradFill>
              </a:defRPr>
            </a:lvl5pPr>
            <a:lvl6pPr>
              <a:defRPr lang="en-US" sz="1000" smtClean="0">
                <a:solidFill>
                  <a:schemeClr val="tx2"/>
                </a:solidFill>
                <a:ea typeface="+mn-ea"/>
                <a:cs typeface="+mn-cs"/>
              </a:defRPr>
            </a:lvl6pPr>
            <a:lvl7pPr>
              <a:defRPr lang="en-US" sz="1000" b="0" baseline="0" smtClean="0"/>
            </a:lvl7pPr>
            <a:lvl8pPr>
              <a:defRPr lang="en-US" sz="1000" b="0" baseline="0" smtClean="0"/>
            </a:lvl8pPr>
            <a:lvl9pPr>
              <a:defRPr lang="en-US" sz="1000" b="0" smtClean="0">
                <a:latin typeface="+mn-lt"/>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19" name="Icon 2">
            <a:extLst>
              <a:ext uri="{FF2B5EF4-FFF2-40B4-BE49-F238E27FC236}">
                <a16:creationId xmlns:a16="http://schemas.microsoft.com/office/drawing/2014/main" id="{EAC3B973-5857-335C-D82C-09706AD0D92F}"/>
              </a:ext>
            </a:extLst>
          </p:cNvPr>
          <p:cNvSpPr>
            <a:spLocks noGrp="1"/>
          </p:cNvSpPr>
          <p:nvPr>
            <p:ph sz="quarter" idx="24"/>
          </p:nvPr>
        </p:nvSpPr>
        <p:spPr>
          <a:xfrm>
            <a:off x="3156283" y="2628000"/>
            <a:ext cx="540000" cy="540000"/>
          </a:xfrm>
          <a:noFill/>
        </p:spPr>
        <p:txBody>
          <a:bodyPr vert="horz" lIns="0" tIns="0" rIns="108000" bIns="0" rtlCol="0">
            <a:noAutofit/>
          </a:bodyPr>
          <a:lstStyle>
            <a:lvl1pPr>
              <a:defRPr lang="de-DE" sz="1000">
                <a:ln>
                  <a:solidFill>
                    <a:srgbClr val="FF4B4B"/>
                  </a:solidFill>
                </a:ln>
                <a:solidFill>
                  <a:srgbClr val="FF4B4B"/>
                </a:solidFill>
              </a:defRPr>
            </a:lvl1pPr>
          </a:lstStyle>
          <a:p>
            <a:pPr lvl="0">
              <a:lnSpc>
                <a:spcPts val="1400"/>
              </a:lnSpc>
            </a:pPr>
            <a:r>
              <a:rPr lang="de-DE"/>
              <a:t>Mastertextformat bearbeiten</a:t>
            </a:r>
          </a:p>
        </p:txBody>
      </p:sp>
      <p:sp>
        <p:nvSpPr>
          <p:cNvPr id="35" name="text 1">
            <a:extLst>
              <a:ext uri="{FF2B5EF4-FFF2-40B4-BE49-F238E27FC236}">
                <a16:creationId xmlns:a16="http://schemas.microsoft.com/office/drawing/2014/main" id="{927C191B-A08F-85D5-D2F2-99828DB99C61}"/>
              </a:ext>
            </a:extLst>
          </p:cNvPr>
          <p:cNvSpPr>
            <a:spLocks noGrp="1"/>
          </p:cNvSpPr>
          <p:nvPr>
            <p:ph type="body" sz="quarter" idx="29" hasCustomPrompt="1"/>
          </p:nvPr>
        </p:nvSpPr>
        <p:spPr>
          <a:xfrm>
            <a:off x="780000" y="2412000"/>
            <a:ext cx="1980000" cy="3600000"/>
          </a:xfrm>
          <a:prstGeom prst="roundRect">
            <a:avLst>
              <a:gd name="adj" fmla="val 2115"/>
            </a:avLst>
          </a:prstGeom>
          <a:solidFill>
            <a:schemeClr val="bg1"/>
          </a:solidFill>
          <a:ln w="6350">
            <a:solidFill>
              <a:schemeClr val="accent4">
                <a:lumMod val="90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smtClean="0"/>
            </a:lvl1pPr>
            <a:lvl2pPr>
              <a:defRPr lang="en-US" sz="1000" smtClean="0"/>
            </a:lvl2pPr>
            <a:lvl3pPr>
              <a:defRPr lang="en-US" sz="1000" smtClean="0"/>
            </a:lvl3pPr>
            <a:lvl4pPr>
              <a:defRPr lang="en-US" sz="1000" smtClean="0">
                <a:solidFill>
                  <a:schemeClr val="tx2"/>
                </a:solidFill>
              </a:defRPr>
            </a:lvl4pPr>
            <a:lvl5pPr>
              <a:defRPr lang="en-US" sz="1200" smtClean="0">
                <a:gradFill>
                  <a:gsLst>
                    <a:gs pos="0">
                      <a:srgbClr val="FF4B4B"/>
                    </a:gs>
                    <a:gs pos="99000">
                      <a:srgbClr val="FF744F"/>
                    </a:gs>
                  </a:gsLst>
                  <a:lin ang="18900000" scaled="0"/>
                </a:gradFill>
              </a:defRPr>
            </a:lvl5pPr>
            <a:lvl6pPr>
              <a:defRPr lang="en-US" sz="1000" smtClean="0">
                <a:solidFill>
                  <a:schemeClr val="tx2"/>
                </a:solidFill>
                <a:ea typeface="+mn-ea"/>
                <a:cs typeface="+mn-cs"/>
              </a:defRPr>
            </a:lvl6pPr>
            <a:lvl7pPr>
              <a:defRPr lang="en-US" sz="1000" b="0" baseline="0" smtClean="0"/>
            </a:lvl7pPr>
            <a:lvl8pPr>
              <a:defRPr lang="en-US" sz="1000" b="0" baseline="0" smtClean="0"/>
            </a:lvl8pPr>
            <a:lvl9pPr>
              <a:defRPr lang="en-US" sz="1000" b="0" smtClean="0">
                <a:latin typeface="+mn-lt"/>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Icon 1">
            <a:extLst>
              <a:ext uri="{FF2B5EF4-FFF2-40B4-BE49-F238E27FC236}">
                <a16:creationId xmlns:a16="http://schemas.microsoft.com/office/drawing/2014/main" id="{BF2DF158-C122-E218-BDE2-5E6595D1B8CA}"/>
              </a:ext>
            </a:extLst>
          </p:cNvPr>
          <p:cNvSpPr>
            <a:spLocks noGrp="1"/>
          </p:cNvSpPr>
          <p:nvPr>
            <p:ph sz="quarter" idx="23"/>
          </p:nvPr>
        </p:nvSpPr>
        <p:spPr>
          <a:xfrm>
            <a:off x="1000520" y="2628000"/>
            <a:ext cx="540000" cy="540000"/>
          </a:xfrm>
          <a:noFill/>
        </p:spPr>
        <p:txBody>
          <a:bodyPr vert="horz" lIns="0" tIns="0" rIns="108000" bIns="0" rtlCol="0">
            <a:noAutofit/>
          </a:bodyPr>
          <a:lstStyle>
            <a:lvl1pPr>
              <a:defRPr lang="de-DE" sz="1000">
                <a:ln>
                  <a:solidFill>
                    <a:srgbClr val="FF4B4B"/>
                  </a:solidFill>
                </a:ln>
                <a:solidFill>
                  <a:srgbClr val="FF4B4B"/>
                </a:solidFill>
              </a:defRPr>
            </a:lvl1pPr>
          </a:lstStyle>
          <a:p>
            <a:pPr lvl="0">
              <a:lnSpc>
                <a:spcPts val="1400"/>
              </a:lnSpc>
            </a:pPr>
            <a:r>
              <a:rPr lang="de-DE"/>
              <a:t>Mastertextformat bearbeiten</a:t>
            </a:r>
          </a:p>
        </p:txBody>
      </p:sp>
      <p:sp>
        <p:nvSpPr>
          <p:cNvPr id="5" name="title">
            <a:extLst>
              <a:ext uri="{FF2B5EF4-FFF2-40B4-BE49-F238E27FC236}">
                <a16:creationId xmlns:a16="http://schemas.microsoft.com/office/drawing/2014/main" id="{A40CDE67-43E3-2705-8865-2677F3CF4561}"/>
              </a:ext>
            </a:extLst>
          </p:cNvPr>
          <p:cNvSpPr>
            <a:spLocks noGrp="1"/>
          </p:cNvSpPr>
          <p:nvPr>
            <p:ph type="title"/>
          </p:nvPr>
        </p:nvSpPr>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BC82E269-B945-9E98-D88A-B9E0B906BD92}"/>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861698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  025 : 6 text boxes : Icons">
    <p:spTree>
      <p:nvGrpSpPr>
        <p:cNvPr id="1" name=""/>
        <p:cNvGrpSpPr/>
        <p:nvPr/>
      </p:nvGrpSpPr>
      <p:grpSpPr>
        <a:xfrm>
          <a:off x="0" y="0"/>
          <a:ext cx="0" cy="0"/>
          <a:chOff x="0" y="0"/>
          <a:chExt cx="0" cy="0"/>
        </a:xfrm>
      </p:grpSpPr>
      <p:sp>
        <p:nvSpPr>
          <p:cNvPr id="11" name="slide number">
            <a:extLst>
              <a:ext uri="{FF2B5EF4-FFF2-40B4-BE49-F238E27FC236}">
                <a16:creationId xmlns:a16="http://schemas.microsoft.com/office/drawing/2014/main" id="{C9BA3CE1-F4C3-2C3D-C372-01096BC0A071}"/>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9C96A835-E90E-5839-1566-B4738150090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4" name="date">
            <a:extLst>
              <a:ext uri="{FF2B5EF4-FFF2-40B4-BE49-F238E27FC236}">
                <a16:creationId xmlns:a16="http://schemas.microsoft.com/office/drawing/2014/main" id="{61BC8F3A-DE2E-C831-0500-7FA96995AB4D}"/>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3" name="text 7">
            <a:extLst>
              <a:ext uri="{FF2B5EF4-FFF2-40B4-BE49-F238E27FC236}">
                <a16:creationId xmlns:a16="http://schemas.microsoft.com/office/drawing/2014/main" id="{A1FE09D6-F50B-58D0-9D25-2A26AF1045C4}"/>
              </a:ext>
            </a:extLst>
          </p:cNvPr>
          <p:cNvSpPr>
            <a:spLocks noGrp="1"/>
          </p:cNvSpPr>
          <p:nvPr>
            <p:ph type="body" idx="1"/>
          </p:nvPr>
        </p:nvSpPr>
        <p:spPr>
          <a:xfrm>
            <a:off x="540000" y="1476000"/>
            <a:ext cx="11088000" cy="1440000"/>
          </a:xfrm>
          <a:prstGeom prst="roundRect">
            <a:avLst>
              <a:gd name="adj" fmla="val 5828"/>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lIns="0" tIns="288000" rIns="0" bIns="0" rtlCol="0" anchor="t" anchorCtr="1">
            <a:noAutofit/>
          </a:bodyPr>
          <a:lstStyle>
            <a:lvl1pPr>
              <a:defRPr lang="de-DE" sz="1800">
                <a:solidFill>
                  <a:schemeClr val="bg1"/>
                </a:solidFill>
                <a:latin typeface="+mj-lt"/>
              </a:defRPr>
            </a:lvl1pPr>
          </a:lstStyle>
          <a:p>
            <a:pPr lvl="0" algn="ctr"/>
            <a:r>
              <a:rPr lang="de-DE"/>
              <a:t>Mastertextformat bearbeiten</a:t>
            </a:r>
          </a:p>
        </p:txBody>
      </p:sp>
      <p:sp>
        <p:nvSpPr>
          <p:cNvPr id="4" name="text 6">
            <a:extLst>
              <a:ext uri="{FF2B5EF4-FFF2-40B4-BE49-F238E27FC236}">
                <a16:creationId xmlns:a16="http://schemas.microsoft.com/office/drawing/2014/main" id="{F1E1416F-35EF-1826-F874-B0AEF635D1AD}"/>
              </a:ext>
            </a:extLst>
          </p:cNvPr>
          <p:cNvSpPr>
            <a:spLocks noGrp="1"/>
          </p:cNvSpPr>
          <p:nvPr>
            <p:ph type="body" sz="quarter" idx="38" hasCustomPrompt="1"/>
          </p:nvPr>
        </p:nvSpPr>
        <p:spPr>
          <a:xfrm>
            <a:off x="9791479" y="2412000"/>
            <a:ext cx="1620000" cy="3600000"/>
          </a:xfrm>
          <a:prstGeom prst="roundRect">
            <a:avLst>
              <a:gd name="adj" fmla="val 2115"/>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dirty="0"/>
            </a:lvl1pPr>
            <a:lvl2pPr>
              <a:defRPr lang="en-US" sz="1000" smtClean="0"/>
            </a:lvl2pPr>
            <a:lvl3pPr>
              <a:defRPr lang="en-US" sz="1000" smtClean="0"/>
            </a:lvl3pPr>
            <a:lvl4pPr>
              <a:defRPr lang="en-US" sz="1000" smtClean="0">
                <a:solidFill>
                  <a:schemeClr val="tx2"/>
                </a:solidFill>
              </a:defRPr>
            </a:lvl4pPr>
            <a:lvl5pPr>
              <a:defRPr lang="en-US" sz="1200" smtClean="0">
                <a:gradFill>
                  <a:gsLst>
                    <a:gs pos="0">
                      <a:srgbClr val="FF4B4B"/>
                    </a:gs>
                    <a:gs pos="99000">
                      <a:srgbClr val="FF744F"/>
                    </a:gs>
                  </a:gsLst>
                  <a:lin ang="18900000" scaled="0"/>
                </a:gradFill>
              </a:defRPr>
            </a:lvl5pPr>
            <a:lvl6pPr>
              <a:defRPr lang="en-US" sz="1000" smtClean="0">
                <a:solidFill>
                  <a:schemeClr val="tx2"/>
                </a:solidFill>
                <a:ea typeface="+mn-ea"/>
                <a:cs typeface="+mn-cs"/>
              </a:defRPr>
            </a:lvl6pPr>
            <a:lvl7pPr>
              <a:defRPr lang="en-US" sz="1000" b="0" baseline="0" smtClean="0"/>
            </a:lvl7pPr>
            <a:lvl8pPr>
              <a:defRPr lang="en-US" sz="1000" b="0" baseline="0" smtClean="0"/>
            </a:lvl8pPr>
            <a:lvl9pPr>
              <a:defRPr lang="en-US" sz="1000" b="0" smtClean="0">
                <a:latin typeface="+mn-lt"/>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6" name="Icon 6">
            <a:extLst>
              <a:ext uri="{FF2B5EF4-FFF2-40B4-BE49-F238E27FC236}">
                <a16:creationId xmlns:a16="http://schemas.microsoft.com/office/drawing/2014/main" id="{80B4EE96-7060-AB47-910C-6382FDF2697F}"/>
              </a:ext>
            </a:extLst>
          </p:cNvPr>
          <p:cNvSpPr>
            <a:spLocks noGrp="1"/>
          </p:cNvSpPr>
          <p:nvPr>
            <p:ph sz="quarter" idx="39"/>
          </p:nvPr>
        </p:nvSpPr>
        <p:spPr>
          <a:xfrm>
            <a:off x="9983051" y="2628000"/>
            <a:ext cx="540000" cy="540000"/>
          </a:xfrm>
          <a:noFill/>
        </p:spPr>
        <p:txBody>
          <a:bodyPr vert="horz" lIns="0" tIns="0" rIns="108000" bIns="0" rtlCol="0">
            <a:noAutofit/>
          </a:bodyPr>
          <a:lstStyle>
            <a:lvl1pPr>
              <a:defRPr lang="de-DE" sz="1000">
                <a:ln>
                  <a:solidFill>
                    <a:srgbClr val="FF4B4B"/>
                  </a:solidFill>
                </a:ln>
                <a:solidFill>
                  <a:srgbClr val="FF4B4B"/>
                </a:solidFill>
              </a:defRPr>
            </a:lvl1pPr>
          </a:lstStyle>
          <a:p>
            <a:pPr lvl="0">
              <a:lnSpc>
                <a:spcPts val="1400"/>
              </a:lnSpc>
            </a:pPr>
            <a:r>
              <a:rPr lang="de-DE"/>
              <a:t>Mastertextformat bearbeiten</a:t>
            </a:r>
          </a:p>
        </p:txBody>
      </p:sp>
      <p:sp>
        <p:nvSpPr>
          <p:cNvPr id="2" name="text 5">
            <a:extLst>
              <a:ext uri="{FF2B5EF4-FFF2-40B4-BE49-F238E27FC236}">
                <a16:creationId xmlns:a16="http://schemas.microsoft.com/office/drawing/2014/main" id="{9728757F-0C7B-0318-7F5E-D0DC8E1253BA}"/>
              </a:ext>
            </a:extLst>
          </p:cNvPr>
          <p:cNvSpPr>
            <a:spLocks noGrp="1"/>
          </p:cNvSpPr>
          <p:nvPr>
            <p:ph type="body" sz="quarter" idx="36" hasCustomPrompt="1"/>
          </p:nvPr>
        </p:nvSpPr>
        <p:spPr>
          <a:xfrm>
            <a:off x="7990754" y="2412000"/>
            <a:ext cx="1620000" cy="3600000"/>
          </a:xfrm>
          <a:prstGeom prst="roundRect">
            <a:avLst>
              <a:gd name="adj" fmla="val 2115"/>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dirty="0"/>
            </a:lvl1pPr>
            <a:lvl2pPr>
              <a:defRPr lang="en-US" sz="1000" smtClean="0"/>
            </a:lvl2pPr>
            <a:lvl3pPr>
              <a:defRPr lang="en-US" sz="1000" smtClean="0"/>
            </a:lvl3pPr>
            <a:lvl4pPr>
              <a:defRPr lang="en-US" sz="1000" smtClean="0">
                <a:solidFill>
                  <a:schemeClr val="tx2"/>
                </a:solidFill>
              </a:defRPr>
            </a:lvl4pPr>
            <a:lvl5pPr>
              <a:defRPr lang="en-US" sz="1200" smtClean="0">
                <a:gradFill>
                  <a:gsLst>
                    <a:gs pos="0">
                      <a:srgbClr val="FF4B4B"/>
                    </a:gs>
                    <a:gs pos="99000">
                      <a:srgbClr val="FF744F"/>
                    </a:gs>
                  </a:gsLst>
                  <a:lin ang="18900000" scaled="0"/>
                </a:gradFill>
              </a:defRPr>
            </a:lvl5pPr>
            <a:lvl6pPr>
              <a:defRPr lang="en-US" sz="1000" smtClean="0">
                <a:solidFill>
                  <a:schemeClr val="tx2"/>
                </a:solidFill>
                <a:ea typeface="+mn-ea"/>
                <a:cs typeface="+mn-cs"/>
              </a:defRPr>
            </a:lvl6pPr>
            <a:lvl7pPr>
              <a:defRPr lang="en-US" sz="1000" b="0" baseline="0" smtClean="0"/>
            </a:lvl7pPr>
            <a:lvl8pPr>
              <a:defRPr lang="en-US" sz="1000" b="0" baseline="0" smtClean="0"/>
            </a:lvl8pPr>
            <a:lvl9pPr>
              <a:defRPr lang="en-US" sz="1000" b="0" smtClean="0">
                <a:latin typeface="+mn-lt"/>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3" name="Icon 5">
            <a:extLst>
              <a:ext uri="{FF2B5EF4-FFF2-40B4-BE49-F238E27FC236}">
                <a16:creationId xmlns:a16="http://schemas.microsoft.com/office/drawing/2014/main" id="{D6B1A58F-285B-F5A0-916D-E40954CC277F}"/>
              </a:ext>
            </a:extLst>
          </p:cNvPr>
          <p:cNvSpPr>
            <a:spLocks noGrp="1"/>
          </p:cNvSpPr>
          <p:nvPr>
            <p:ph sz="quarter" idx="37"/>
          </p:nvPr>
        </p:nvSpPr>
        <p:spPr>
          <a:xfrm>
            <a:off x="8186544" y="2628000"/>
            <a:ext cx="540000" cy="540000"/>
          </a:xfrm>
          <a:noFill/>
        </p:spPr>
        <p:txBody>
          <a:bodyPr vert="horz" lIns="0" tIns="0" rIns="108000" bIns="0" rtlCol="0">
            <a:noAutofit/>
          </a:bodyPr>
          <a:lstStyle>
            <a:lvl1pPr>
              <a:defRPr lang="de-DE" sz="1000">
                <a:ln>
                  <a:solidFill>
                    <a:srgbClr val="FF4B4B"/>
                  </a:solidFill>
                </a:ln>
                <a:solidFill>
                  <a:srgbClr val="FF4B4B"/>
                </a:solidFill>
              </a:defRPr>
            </a:lvl1pPr>
          </a:lstStyle>
          <a:p>
            <a:pPr lvl="0">
              <a:lnSpc>
                <a:spcPts val="1400"/>
              </a:lnSpc>
            </a:pPr>
            <a:r>
              <a:rPr lang="de-DE"/>
              <a:t>Mastertextformat bearbeiten</a:t>
            </a:r>
          </a:p>
        </p:txBody>
      </p:sp>
      <p:sp>
        <p:nvSpPr>
          <p:cNvPr id="38" name="text 4">
            <a:extLst>
              <a:ext uri="{FF2B5EF4-FFF2-40B4-BE49-F238E27FC236}">
                <a16:creationId xmlns:a16="http://schemas.microsoft.com/office/drawing/2014/main" id="{766A6541-969C-FB7D-0491-0D3E07636CF8}"/>
              </a:ext>
            </a:extLst>
          </p:cNvPr>
          <p:cNvSpPr>
            <a:spLocks noGrp="1"/>
          </p:cNvSpPr>
          <p:nvPr>
            <p:ph type="body" sz="quarter" idx="35" hasCustomPrompt="1"/>
          </p:nvPr>
        </p:nvSpPr>
        <p:spPr>
          <a:xfrm>
            <a:off x="6190030" y="2412000"/>
            <a:ext cx="1620000" cy="3600000"/>
          </a:xfrm>
          <a:prstGeom prst="roundRect">
            <a:avLst>
              <a:gd name="adj" fmla="val 2115"/>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dirty="0"/>
            </a:lvl1pPr>
            <a:lvl2pPr>
              <a:defRPr lang="en-US" sz="1000" smtClean="0"/>
            </a:lvl2pPr>
            <a:lvl3pPr>
              <a:defRPr lang="en-US" sz="1000" smtClean="0"/>
            </a:lvl3pPr>
            <a:lvl4pPr>
              <a:defRPr lang="en-US" sz="1000" smtClean="0">
                <a:solidFill>
                  <a:schemeClr val="tx2"/>
                </a:solidFill>
              </a:defRPr>
            </a:lvl4pPr>
            <a:lvl5pPr>
              <a:defRPr lang="en-US" sz="1200" smtClean="0">
                <a:gradFill>
                  <a:gsLst>
                    <a:gs pos="0">
                      <a:srgbClr val="FF4B4B"/>
                    </a:gs>
                    <a:gs pos="99000">
                      <a:srgbClr val="FF744F"/>
                    </a:gs>
                  </a:gsLst>
                  <a:lin ang="18900000" scaled="0"/>
                </a:gradFill>
              </a:defRPr>
            </a:lvl5pPr>
            <a:lvl6pPr>
              <a:defRPr lang="en-US" sz="1000" smtClean="0">
                <a:solidFill>
                  <a:schemeClr val="tx2"/>
                </a:solidFill>
                <a:ea typeface="+mn-ea"/>
                <a:cs typeface="+mn-cs"/>
              </a:defRPr>
            </a:lvl6pPr>
            <a:lvl7pPr>
              <a:defRPr lang="en-US" sz="1000" b="0" baseline="0" smtClean="0"/>
            </a:lvl7pPr>
            <a:lvl8pPr>
              <a:defRPr lang="en-US" sz="1000" b="0" baseline="0" smtClean="0"/>
            </a:lvl8pPr>
            <a:lvl9pPr>
              <a:defRPr lang="en-US" sz="1000" b="0" smtClean="0">
                <a:latin typeface="+mn-lt"/>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25" name="Icon 4">
            <a:extLst>
              <a:ext uri="{FF2B5EF4-FFF2-40B4-BE49-F238E27FC236}">
                <a16:creationId xmlns:a16="http://schemas.microsoft.com/office/drawing/2014/main" id="{A69C5009-BBB2-3F4E-2F00-D126B2AA567E}"/>
              </a:ext>
            </a:extLst>
          </p:cNvPr>
          <p:cNvSpPr>
            <a:spLocks noGrp="1"/>
          </p:cNvSpPr>
          <p:nvPr>
            <p:ph sz="quarter" idx="28"/>
          </p:nvPr>
        </p:nvSpPr>
        <p:spPr>
          <a:xfrm>
            <a:off x="6390038" y="2628000"/>
            <a:ext cx="540000" cy="540000"/>
          </a:xfrm>
          <a:noFill/>
        </p:spPr>
        <p:txBody>
          <a:bodyPr vert="horz" lIns="0" tIns="0" rIns="108000" bIns="0" rtlCol="0">
            <a:noAutofit/>
          </a:bodyPr>
          <a:lstStyle>
            <a:lvl1pPr>
              <a:defRPr lang="de-DE" sz="1000">
                <a:ln>
                  <a:solidFill>
                    <a:srgbClr val="FF4B4B"/>
                  </a:solidFill>
                </a:ln>
                <a:solidFill>
                  <a:srgbClr val="FF4B4B"/>
                </a:solidFill>
              </a:defRPr>
            </a:lvl1pPr>
          </a:lstStyle>
          <a:p>
            <a:pPr lvl="0">
              <a:lnSpc>
                <a:spcPts val="1400"/>
              </a:lnSpc>
            </a:pPr>
            <a:r>
              <a:rPr lang="de-DE"/>
              <a:t>Mastertextformat bearbeiten</a:t>
            </a:r>
          </a:p>
        </p:txBody>
      </p:sp>
      <p:sp>
        <p:nvSpPr>
          <p:cNvPr id="37" name="text 3">
            <a:extLst>
              <a:ext uri="{FF2B5EF4-FFF2-40B4-BE49-F238E27FC236}">
                <a16:creationId xmlns:a16="http://schemas.microsoft.com/office/drawing/2014/main" id="{4C7A74BA-677D-44AF-0C2A-FDAE4A7E8131}"/>
              </a:ext>
            </a:extLst>
          </p:cNvPr>
          <p:cNvSpPr>
            <a:spLocks noGrp="1"/>
          </p:cNvSpPr>
          <p:nvPr>
            <p:ph type="body" sz="quarter" idx="34" hasCustomPrompt="1"/>
          </p:nvPr>
        </p:nvSpPr>
        <p:spPr>
          <a:xfrm>
            <a:off x="4389306" y="2412000"/>
            <a:ext cx="1620000" cy="3600000"/>
          </a:xfrm>
          <a:prstGeom prst="roundRect">
            <a:avLst>
              <a:gd name="adj" fmla="val 2115"/>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dirty="0"/>
            </a:lvl1pPr>
            <a:lvl2pPr>
              <a:defRPr lang="en-US" sz="1000" smtClean="0"/>
            </a:lvl2pPr>
            <a:lvl3pPr>
              <a:defRPr lang="en-US" sz="1000" smtClean="0"/>
            </a:lvl3pPr>
            <a:lvl4pPr>
              <a:defRPr lang="en-US" sz="1000" smtClean="0">
                <a:solidFill>
                  <a:schemeClr val="tx2"/>
                </a:solidFill>
              </a:defRPr>
            </a:lvl4pPr>
            <a:lvl5pPr>
              <a:defRPr lang="en-US" sz="1200" smtClean="0">
                <a:gradFill>
                  <a:gsLst>
                    <a:gs pos="0">
                      <a:srgbClr val="FF4B4B"/>
                    </a:gs>
                    <a:gs pos="99000">
                      <a:srgbClr val="FF744F"/>
                    </a:gs>
                  </a:gsLst>
                  <a:lin ang="18900000" scaled="0"/>
                </a:gradFill>
              </a:defRPr>
            </a:lvl5pPr>
            <a:lvl6pPr>
              <a:defRPr lang="en-US" sz="1000" smtClean="0">
                <a:solidFill>
                  <a:schemeClr val="tx2"/>
                </a:solidFill>
                <a:ea typeface="+mn-ea"/>
                <a:cs typeface="+mn-cs"/>
              </a:defRPr>
            </a:lvl6pPr>
            <a:lvl7pPr>
              <a:defRPr lang="en-US" sz="1000" b="0" baseline="0" smtClean="0"/>
            </a:lvl7pPr>
            <a:lvl8pPr>
              <a:defRPr lang="en-US" sz="1000" b="0" baseline="0" smtClean="0"/>
            </a:lvl8pPr>
            <a:lvl9pPr>
              <a:defRPr lang="en-US" sz="1000" b="0" smtClean="0">
                <a:latin typeface="+mn-lt"/>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24" name="Icon 3">
            <a:extLst>
              <a:ext uri="{FF2B5EF4-FFF2-40B4-BE49-F238E27FC236}">
                <a16:creationId xmlns:a16="http://schemas.microsoft.com/office/drawing/2014/main" id="{59748B2D-BB1C-8085-B717-CE69ADE160FD}"/>
              </a:ext>
            </a:extLst>
          </p:cNvPr>
          <p:cNvSpPr>
            <a:spLocks noGrp="1"/>
          </p:cNvSpPr>
          <p:nvPr>
            <p:ph sz="quarter" idx="27"/>
          </p:nvPr>
        </p:nvSpPr>
        <p:spPr>
          <a:xfrm>
            <a:off x="4593532" y="2628000"/>
            <a:ext cx="540000" cy="540000"/>
          </a:xfrm>
          <a:noFill/>
        </p:spPr>
        <p:txBody>
          <a:bodyPr vert="horz" lIns="0" tIns="0" rIns="108000" bIns="0" rtlCol="0">
            <a:noAutofit/>
          </a:bodyPr>
          <a:lstStyle>
            <a:lvl1pPr>
              <a:defRPr lang="de-DE" sz="1000">
                <a:ln>
                  <a:solidFill>
                    <a:srgbClr val="FF4B4B"/>
                  </a:solidFill>
                </a:ln>
                <a:solidFill>
                  <a:srgbClr val="FF4B4B"/>
                </a:solidFill>
              </a:defRPr>
            </a:lvl1pPr>
          </a:lstStyle>
          <a:p>
            <a:pPr lvl="0">
              <a:lnSpc>
                <a:spcPts val="1400"/>
              </a:lnSpc>
            </a:pPr>
            <a:r>
              <a:rPr lang="de-DE"/>
              <a:t>Mastertextformat bearbeiten</a:t>
            </a:r>
          </a:p>
        </p:txBody>
      </p:sp>
      <p:sp>
        <p:nvSpPr>
          <p:cNvPr id="36" name="text 2">
            <a:extLst>
              <a:ext uri="{FF2B5EF4-FFF2-40B4-BE49-F238E27FC236}">
                <a16:creationId xmlns:a16="http://schemas.microsoft.com/office/drawing/2014/main" id="{D45F2037-8D7A-7190-BD39-9CDAA2471126}"/>
              </a:ext>
            </a:extLst>
          </p:cNvPr>
          <p:cNvSpPr>
            <a:spLocks noGrp="1"/>
          </p:cNvSpPr>
          <p:nvPr>
            <p:ph type="body" sz="quarter" idx="33" hasCustomPrompt="1"/>
          </p:nvPr>
        </p:nvSpPr>
        <p:spPr>
          <a:xfrm>
            <a:off x="2588582" y="2412000"/>
            <a:ext cx="1620000" cy="3600000"/>
          </a:xfrm>
          <a:prstGeom prst="roundRect">
            <a:avLst>
              <a:gd name="adj" fmla="val 2115"/>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dirty="0"/>
            </a:lvl1pPr>
            <a:lvl2pPr>
              <a:defRPr lang="en-US" sz="1000" smtClean="0"/>
            </a:lvl2pPr>
            <a:lvl3pPr>
              <a:defRPr lang="en-US" sz="1000" smtClean="0"/>
            </a:lvl3pPr>
            <a:lvl4pPr>
              <a:defRPr lang="en-US" sz="1000" smtClean="0">
                <a:solidFill>
                  <a:schemeClr val="tx2"/>
                </a:solidFill>
              </a:defRPr>
            </a:lvl4pPr>
            <a:lvl5pPr>
              <a:defRPr lang="en-US" sz="1200" smtClean="0">
                <a:gradFill>
                  <a:gsLst>
                    <a:gs pos="0">
                      <a:srgbClr val="FF4B4B"/>
                    </a:gs>
                    <a:gs pos="99000">
                      <a:srgbClr val="FF744F"/>
                    </a:gs>
                  </a:gsLst>
                  <a:lin ang="18900000" scaled="0"/>
                </a:gradFill>
              </a:defRPr>
            </a:lvl5pPr>
            <a:lvl6pPr>
              <a:defRPr lang="en-US" sz="1000" smtClean="0">
                <a:solidFill>
                  <a:schemeClr val="tx2"/>
                </a:solidFill>
                <a:ea typeface="+mn-ea"/>
                <a:cs typeface="+mn-cs"/>
              </a:defRPr>
            </a:lvl6pPr>
            <a:lvl7pPr>
              <a:defRPr lang="en-US" sz="1000" b="0" baseline="0" smtClean="0"/>
            </a:lvl7pPr>
            <a:lvl8pPr>
              <a:defRPr lang="en-US" sz="1000" b="0" baseline="0" smtClean="0"/>
            </a:lvl8pPr>
            <a:lvl9pPr>
              <a:defRPr lang="en-US" sz="1000" b="0" smtClean="0">
                <a:latin typeface="+mn-lt"/>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19" name="Icon 2">
            <a:extLst>
              <a:ext uri="{FF2B5EF4-FFF2-40B4-BE49-F238E27FC236}">
                <a16:creationId xmlns:a16="http://schemas.microsoft.com/office/drawing/2014/main" id="{EAC3B973-5857-335C-D82C-09706AD0D92F}"/>
              </a:ext>
            </a:extLst>
          </p:cNvPr>
          <p:cNvSpPr>
            <a:spLocks noGrp="1"/>
          </p:cNvSpPr>
          <p:nvPr>
            <p:ph sz="quarter" idx="24"/>
          </p:nvPr>
        </p:nvSpPr>
        <p:spPr>
          <a:xfrm>
            <a:off x="2797026" y="2628000"/>
            <a:ext cx="540000" cy="540000"/>
          </a:xfrm>
          <a:noFill/>
        </p:spPr>
        <p:txBody>
          <a:bodyPr vert="horz" lIns="0" tIns="0" rIns="108000" bIns="0" rtlCol="0">
            <a:noAutofit/>
          </a:bodyPr>
          <a:lstStyle>
            <a:lvl1pPr>
              <a:defRPr lang="de-DE" sz="1000">
                <a:ln>
                  <a:solidFill>
                    <a:srgbClr val="FF4B4B"/>
                  </a:solidFill>
                </a:ln>
                <a:solidFill>
                  <a:srgbClr val="FF4B4B"/>
                </a:solidFill>
              </a:defRPr>
            </a:lvl1pPr>
          </a:lstStyle>
          <a:p>
            <a:pPr lvl="0">
              <a:lnSpc>
                <a:spcPts val="1400"/>
              </a:lnSpc>
            </a:pPr>
            <a:r>
              <a:rPr lang="de-DE"/>
              <a:t>Mastertextformat bearbeiten</a:t>
            </a:r>
          </a:p>
        </p:txBody>
      </p:sp>
      <p:sp>
        <p:nvSpPr>
          <p:cNvPr id="35" name="text 1">
            <a:extLst>
              <a:ext uri="{FF2B5EF4-FFF2-40B4-BE49-F238E27FC236}">
                <a16:creationId xmlns:a16="http://schemas.microsoft.com/office/drawing/2014/main" id="{927C191B-A08F-85D5-D2F2-99828DB99C61}"/>
              </a:ext>
            </a:extLst>
          </p:cNvPr>
          <p:cNvSpPr>
            <a:spLocks noGrp="1"/>
          </p:cNvSpPr>
          <p:nvPr>
            <p:ph type="body" sz="quarter" idx="29" hasCustomPrompt="1"/>
          </p:nvPr>
        </p:nvSpPr>
        <p:spPr>
          <a:xfrm>
            <a:off x="787858" y="2412000"/>
            <a:ext cx="1620000" cy="3600000"/>
          </a:xfrm>
          <a:prstGeom prst="roundRect">
            <a:avLst>
              <a:gd name="adj" fmla="val 2115"/>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vert="horz" lIns="180000" tIns="1044000" rIns="108000" bIns="0" rtlCol="0">
            <a:noAutofit/>
          </a:bodyPr>
          <a:lstStyle>
            <a:lvl1pPr>
              <a:defRPr lang="en-US" sz="1000" dirty="0"/>
            </a:lvl1pPr>
            <a:lvl2pPr>
              <a:defRPr lang="en-US" sz="1000" smtClean="0"/>
            </a:lvl2pPr>
            <a:lvl3pPr>
              <a:defRPr lang="en-US" sz="1000" smtClean="0"/>
            </a:lvl3pPr>
            <a:lvl4pPr>
              <a:defRPr lang="en-US" sz="1000" smtClean="0">
                <a:solidFill>
                  <a:schemeClr val="tx2"/>
                </a:solidFill>
              </a:defRPr>
            </a:lvl4pPr>
            <a:lvl5pPr>
              <a:defRPr lang="en-US" sz="1200" smtClean="0">
                <a:gradFill>
                  <a:gsLst>
                    <a:gs pos="0">
                      <a:srgbClr val="FF4B4B"/>
                    </a:gs>
                    <a:gs pos="99000">
                      <a:srgbClr val="FF744F"/>
                    </a:gs>
                  </a:gsLst>
                  <a:lin ang="18900000" scaled="0"/>
                </a:gradFill>
              </a:defRPr>
            </a:lvl5pPr>
            <a:lvl6pPr>
              <a:defRPr lang="en-US" sz="1000" smtClean="0">
                <a:solidFill>
                  <a:schemeClr val="tx2"/>
                </a:solidFill>
                <a:ea typeface="+mn-ea"/>
                <a:cs typeface="+mn-cs"/>
              </a:defRPr>
            </a:lvl6pPr>
            <a:lvl7pPr>
              <a:defRPr lang="en-US" sz="1000" b="0" baseline="0" smtClean="0"/>
            </a:lvl7pPr>
            <a:lvl8pPr>
              <a:defRPr lang="en-US" sz="1000" b="0" baseline="0" smtClean="0"/>
            </a:lvl8pPr>
            <a:lvl9pPr>
              <a:defRPr lang="en-US" sz="1000" b="0" smtClean="0">
                <a:latin typeface="+mn-lt"/>
              </a:defRPr>
            </a:lvl9p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0"/>
            <a:endParaRPr lang="en-US" dirty="0"/>
          </a:p>
        </p:txBody>
      </p:sp>
      <p:sp>
        <p:nvSpPr>
          <p:cNvPr id="18" name="Icon 1">
            <a:extLst>
              <a:ext uri="{FF2B5EF4-FFF2-40B4-BE49-F238E27FC236}">
                <a16:creationId xmlns:a16="http://schemas.microsoft.com/office/drawing/2014/main" id="{BF2DF158-C122-E218-BDE2-5E6595D1B8CA}"/>
              </a:ext>
            </a:extLst>
          </p:cNvPr>
          <p:cNvSpPr>
            <a:spLocks noGrp="1"/>
          </p:cNvSpPr>
          <p:nvPr>
            <p:ph sz="quarter" idx="23"/>
          </p:nvPr>
        </p:nvSpPr>
        <p:spPr>
          <a:xfrm>
            <a:off x="1000520" y="2628000"/>
            <a:ext cx="540000" cy="540000"/>
          </a:xfrm>
          <a:noFill/>
        </p:spPr>
        <p:txBody>
          <a:bodyPr vert="horz" lIns="0" tIns="0" rIns="108000" bIns="0" rtlCol="0">
            <a:noAutofit/>
          </a:bodyPr>
          <a:lstStyle>
            <a:lvl1pPr>
              <a:defRPr lang="de-DE" sz="1000">
                <a:ln>
                  <a:solidFill>
                    <a:srgbClr val="FF4B4B"/>
                  </a:solidFill>
                </a:ln>
                <a:solidFill>
                  <a:srgbClr val="FF4B4B"/>
                </a:solidFill>
              </a:defRPr>
            </a:lvl1pPr>
          </a:lstStyle>
          <a:p>
            <a:pPr lvl="0">
              <a:lnSpc>
                <a:spcPts val="1400"/>
              </a:lnSpc>
            </a:pPr>
            <a:r>
              <a:rPr lang="de-DE"/>
              <a:t>Mastertextformat bearbeiten</a:t>
            </a:r>
          </a:p>
        </p:txBody>
      </p:sp>
      <p:sp>
        <p:nvSpPr>
          <p:cNvPr id="5" name="title">
            <a:extLst>
              <a:ext uri="{FF2B5EF4-FFF2-40B4-BE49-F238E27FC236}">
                <a16:creationId xmlns:a16="http://schemas.microsoft.com/office/drawing/2014/main" id="{A40CDE67-43E3-2705-8865-2677F3CF4561}"/>
              </a:ext>
            </a:extLst>
          </p:cNvPr>
          <p:cNvSpPr>
            <a:spLocks noGrp="1"/>
          </p:cNvSpPr>
          <p:nvPr>
            <p:ph type="title"/>
          </p:nvPr>
        </p:nvSpPr>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BC82E269-B945-9E98-D88A-B9E0B906BD92}"/>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6055098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  026 : 4 text boxes : stripes : Icons">
    <p:spTree>
      <p:nvGrpSpPr>
        <p:cNvPr id="1" name=""/>
        <p:cNvGrpSpPr/>
        <p:nvPr/>
      </p:nvGrpSpPr>
      <p:grpSpPr>
        <a:xfrm>
          <a:off x="0" y="0"/>
          <a:ext cx="0" cy="0"/>
          <a:chOff x="0" y="0"/>
          <a:chExt cx="0" cy="0"/>
        </a:xfrm>
      </p:grpSpPr>
      <p:sp>
        <p:nvSpPr>
          <p:cNvPr id="21" name="slide number">
            <a:extLst>
              <a:ext uri="{FF2B5EF4-FFF2-40B4-BE49-F238E27FC236}">
                <a16:creationId xmlns:a16="http://schemas.microsoft.com/office/drawing/2014/main" id="{68DA1A13-8D13-4B2B-713D-126B871F2C0B}"/>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22" name="footer">
            <a:extLst>
              <a:ext uri="{FF2B5EF4-FFF2-40B4-BE49-F238E27FC236}">
                <a16:creationId xmlns:a16="http://schemas.microsoft.com/office/drawing/2014/main" id="{A4E184A2-8E83-E028-E053-0741914CB14E}"/>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23" name="date">
            <a:extLst>
              <a:ext uri="{FF2B5EF4-FFF2-40B4-BE49-F238E27FC236}">
                <a16:creationId xmlns:a16="http://schemas.microsoft.com/office/drawing/2014/main" id="{EEB58672-5C8C-98C6-6BF1-81FA11EF3AD3}"/>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38" name="text 4">
            <a:extLst>
              <a:ext uri="{FF2B5EF4-FFF2-40B4-BE49-F238E27FC236}">
                <a16:creationId xmlns:a16="http://schemas.microsoft.com/office/drawing/2014/main" id="{766A6541-969C-FB7D-0491-0D3E07636CF8}"/>
              </a:ext>
            </a:extLst>
          </p:cNvPr>
          <p:cNvSpPr>
            <a:spLocks noGrp="1"/>
          </p:cNvSpPr>
          <p:nvPr>
            <p:ph type="body" sz="quarter" idx="35"/>
          </p:nvPr>
        </p:nvSpPr>
        <p:spPr>
          <a:xfrm>
            <a:off x="6172200" y="4093350"/>
            <a:ext cx="5184000" cy="198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288000" tIns="720000" rIns="288000" bIns="0" rtlCol="0">
            <a:noAutofit/>
          </a:bodyPr>
          <a:lstStyle>
            <a:lvl1pPr>
              <a:defRPr lang="en-US" sz="1200" dirty="0"/>
            </a:lvl1pPr>
            <a:lvl2pPr>
              <a:defRPr lang="en-US" sz="1200" dirty="0"/>
            </a:lvl2pPr>
            <a:lvl3pPr>
              <a:defRPr lang="en-US" sz="1200" dirty="0"/>
            </a:lvl3pPr>
            <a:lvl4pPr>
              <a:defRPr lang="en-US" sz="1200" dirty="0"/>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14" name="Icon-placeholder 4">
            <a:extLst>
              <a:ext uri="{FF2B5EF4-FFF2-40B4-BE49-F238E27FC236}">
                <a16:creationId xmlns:a16="http://schemas.microsoft.com/office/drawing/2014/main" id="{A9B14E53-0A29-DC6D-5E5B-C26B98579E86}"/>
              </a:ext>
            </a:extLst>
          </p:cNvPr>
          <p:cNvSpPr>
            <a:spLocks noGrp="1"/>
          </p:cNvSpPr>
          <p:nvPr>
            <p:ph sz="quarter" idx="42"/>
          </p:nvPr>
        </p:nvSpPr>
        <p:spPr>
          <a:xfrm>
            <a:off x="6480000" y="421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8" name="stripe 4">
            <a:extLst>
              <a:ext uri="{FF2B5EF4-FFF2-40B4-BE49-F238E27FC236}">
                <a16:creationId xmlns:a16="http://schemas.microsoft.com/office/drawing/2014/main" id="{B083A90B-BA65-DE34-FD88-6D9B60768122}"/>
              </a:ext>
            </a:extLst>
          </p:cNvPr>
          <p:cNvSpPr>
            <a:spLocks noGrp="1"/>
          </p:cNvSpPr>
          <p:nvPr>
            <p:ph type="body" sz="quarter" idx="40" hasCustomPrompt="1"/>
          </p:nvPr>
        </p:nvSpPr>
        <p:spPr>
          <a:xfrm rot="16200000">
            <a:off x="5220000" y="5034844"/>
            <a:ext cx="1980000" cy="108000"/>
          </a:xfrm>
          <a:prstGeom prst="round2SameRect">
            <a:avLst>
              <a:gd name="adj1" fmla="val 35379"/>
              <a:gd name="adj2" fmla="val 0"/>
            </a:avLst>
          </a:prstGeom>
          <a:gradFill>
            <a:gsLst>
              <a:gs pos="0">
                <a:srgbClr val="FF4B4B"/>
              </a:gs>
              <a:gs pos="100000">
                <a:srgbClr val="FF744F"/>
              </a:gs>
            </a:gsLst>
            <a:lin ang="18900000" scaled="0"/>
          </a:gradFill>
        </p:spPr>
        <p:txBody>
          <a:bodyPr vert="horz" lIns="0" tIns="0" rIns="0" bIns="0" rtlCol="0">
            <a:noAutofit/>
          </a:bodyPr>
          <a:lstStyle>
            <a:lvl1pPr>
              <a:defRPr lang="en-DE" dirty="0"/>
            </a:lvl1pPr>
          </a:lstStyle>
          <a:p>
            <a:pPr lvl="0"/>
            <a:r>
              <a:rPr lang="en-US" dirty="0"/>
              <a:t> </a:t>
            </a:r>
            <a:endParaRPr lang="en-DE" dirty="0"/>
          </a:p>
        </p:txBody>
      </p:sp>
      <p:sp>
        <p:nvSpPr>
          <p:cNvPr id="36" name="text 3">
            <a:extLst>
              <a:ext uri="{FF2B5EF4-FFF2-40B4-BE49-F238E27FC236}">
                <a16:creationId xmlns:a16="http://schemas.microsoft.com/office/drawing/2014/main" id="{D45F2037-8D7A-7190-BD39-9CDAA2471126}"/>
              </a:ext>
            </a:extLst>
          </p:cNvPr>
          <p:cNvSpPr>
            <a:spLocks noGrp="1"/>
          </p:cNvSpPr>
          <p:nvPr>
            <p:ph type="body" sz="quarter" idx="33"/>
          </p:nvPr>
        </p:nvSpPr>
        <p:spPr>
          <a:xfrm>
            <a:off x="772200" y="4093350"/>
            <a:ext cx="5184000" cy="198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288000" tIns="720000" rIns="288000" bIns="0" rtlCol="0">
            <a:noAutofit/>
          </a:bodyPr>
          <a:lstStyle>
            <a:lvl1pPr>
              <a:defRPr lang="en-US" sz="1200" dirty="0"/>
            </a:lvl1pPr>
            <a:lvl2pPr>
              <a:defRPr lang="en-US" sz="1200" dirty="0"/>
            </a:lvl2pPr>
            <a:lvl3pPr>
              <a:defRPr lang="en-US" sz="1200" dirty="0"/>
            </a:lvl3pPr>
            <a:lvl4pPr>
              <a:defRPr lang="en-US" sz="1200" dirty="0"/>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2" name="Icon-placeholder 3">
            <a:extLst>
              <a:ext uri="{FF2B5EF4-FFF2-40B4-BE49-F238E27FC236}">
                <a16:creationId xmlns:a16="http://schemas.microsoft.com/office/drawing/2014/main" id="{49A6B266-7DA1-A0D2-8985-DEA29D0B305D}"/>
              </a:ext>
            </a:extLst>
          </p:cNvPr>
          <p:cNvSpPr>
            <a:spLocks noGrp="1"/>
          </p:cNvSpPr>
          <p:nvPr>
            <p:ph sz="quarter" idx="36"/>
          </p:nvPr>
        </p:nvSpPr>
        <p:spPr>
          <a:xfrm>
            <a:off x="1076900" y="421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0" name="stripe 3">
            <a:extLst>
              <a:ext uri="{FF2B5EF4-FFF2-40B4-BE49-F238E27FC236}">
                <a16:creationId xmlns:a16="http://schemas.microsoft.com/office/drawing/2014/main" id="{896C88AE-CDA6-2778-4D8F-217FF29DFFB1}"/>
              </a:ext>
            </a:extLst>
          </p:cNvPr>
          <p:cNvSpPr>
            <a:spLocks noGrp="1"/>
          </p:cNvSpPr>
          <p:nvPr>
            <p:ph type="body" sz="quarter" idx="39" hasCustomPrompt="1"/>
          </p:nvPr>
        </p:nvSpPr>
        <p:spPr>
          <a:xfrm rot="16200000">
            <a:off x="-161110" y="5034844"/>
            <a:ext cx="1980000" cy="108000"/>
          </a:xfrm>
          <a:prstGeom prst="round2SameRect">
            <a:avLst>
              <a:gd name="adj1" fmla="val 35379"/>
              <a:gd name="adj2" fmla="val 0"/>
            </a:avLst>
          </a:prstGeom>
          <a:gradFill>
            <a:gsLst>
              <a:gs pos="0">
                <a:srgbClr val="FF4B4B"/>
              </a:gs>
              <a:gs pos="100000">
                <a:srgbClr val="FF744F"/>
              </a:gs>
            </a:gsLst>
            <a:lin ang="18900000" scaled="0"/>
          </a:gradFill>
        </p:spPr>
        <p:txBody>
          <a:bodyPr vert="horz" lIns="0" tIns="0" rIns="0" bIns="0" rtlCol="0">
            <a:noAutofit/>
          </a:bodyPr>
          <a:lstStyle>
            <a:lvl1pPr>
              <a:defRPr lang="en-DE" dirty="0"/>
            </a:lvl1pPr>
          </a:lstStyle>
          <a:p>
            <a:pPr lvl="0"/>
            <a:r>
              <a:rPr lang="en-US" dirty="0"/>
              <a:t> </a:t>
            </a:r>
            <a:endParaRPr lang="en-DE" dirty="0"/>
          </a:p>
        </p:txBody>
      </p:sp>
      <p:sp>
        <p:nvSpPr>
          <p:cNvPr id="37" name="text 2">
            <a:extLst>
              <a:ext uri="{FF2B5EF4-FFF2-40B4-BE49-F238E27FC236}">
                <a16:creationId xmlns:a16="http://schemas.microsoft.com/office/drawing/2014/main" id="{4C7A74BA-677D-44AF-0C2A-FDAE4A7E8131}"/>
              </a:ext>
            </a:extLst>
          </p:cNvPr>
          <p:cNvSpPr>
            <a:spLocks noGrp="1"/>
          </p:cNvSpPr>
          <p:nvPr>
            <p:ph type="body" sz="quarter" idx="34"/>
          </p:nvPr>
        </p:nvSpPr>
        <p:spPr>
          <a:xfrm>
            <a:off x="6172200" y="1933350"/>
            <a:ext cx="5184000" cy="198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288000" tIns="720000" rIns="288000" bIns="0" rtlCol="0">
            <a:noAutofit/>
          </a:bodyPr>
          <a:lstStyle>
            <a:lvl1pPr>
              <a:defRPr lang="en-US" sz="1200" dirty="0"/>
            </a:lvl1pPr>
            <a:lvl2pPr>
              <a:defRPr lang="en-US" sz="1200" dirty="0"/>
            </a:lvl2pPr>
            <a:lvl3pPr>
              <a:defRPr lang="en-US" sz="1200" dirty="0"/>
            </a:lvl3pPr>
            <a:lvl4pPr>
              <a:defRPr lang="en-US" sz="1200" dirty="0"/>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11" name="stripe 2">
            <a:extLst>
              <a:ext uri="{FF2B5EF4-FFF2-40B4-BE49-F238E27FC236}">
                <a16:creationId xmlns:a16="http://schemas.microsoft.com/office/drawing/2014/main" id="{4BBD5651-6876-8008-DE62-ECF20E454E66}"/>
              </a:ext>
            </a:extLst>
          </p:cNvPr>
          <p:cNvSpPr>
            <a:spLocks noGrp="1"/>
          </p:cNvSpPr>
          <p:nvPr>
            <p:ph type="body" sz="quarter" idx="38" hasCustomPrompt="1"/>
          </p:nvPr>
        </p:nvSpPr>
        <p:spPr>
          <a:xfrm rot="16200000">
            <a:off x="5220000" y="2862666"/>
            <a:ext cx="1980000" cy="108000"/>
          </a:xfrm>
          <a:prstGeom prst="round2SameRect">
            <a:avLst>
              <a:gd name="adj1" fmla="val 35379"/>
              <a:gd name="adj2" fmla="val 0"/>
            </a:avLst>
          </a:prstGeom>
          <a:gradFill>
            <a:gsLst>
              <a:gs pos="0">
                <a:srgbClr val="FF4B4B"/>
              </a:gs>
              <a:gs pos="100000">
                <a:srgbClr val="FF744F"/>
              </a:gs>
            </a:gsLst>
            <a:lin ang="18900000" scaled="0"/>
          </a:gradFill>
        </p:spPr>
        <p:txBody>
          <a:bodyPr vert="horz" lIns="0" tIns="0" rIns="0" bIns="0" rtlCol="0">
            <a:noAutofit/>
          </a:bodyPr>
          <a:lstStyle>
            <a:lvl1pPr>
              <a:defRPr lang="en-DE" dirty="0"/>
            </a:lvl1pPr>
          </a:lstStyle>
          <a:p>
            <a:pPr lvl="0"/>
            <a:r>
              <a:rPr lang="en-US" dirty="0"/>
              <a:t> </a:t>
            </a:r>
            <a:endParaRPr lang="en-DE" dirty="0"/>
          </a:p>
        </p:txBody>
      </p:sp>
      <p:sp>
        <p:nvSpPr>
          <p:cNvPr id="13" name="Icon-placeholder 2">
            <a:extLst>
              <a:ext uri="{FF2B5EF4-FFF2-40B4-BE49-F238E27FC236}">
                <a16:creationId xmlns:a16="http://schemas.microsoft.com/office/drawing/2014/main" id="{17A2DFA9-CAF3-9122-B3B4-2A81162C706D}"/>
              </a:ext>
            </a:extLst>
          </p:cNvPr>
          <p:cNvSpPr>
            <a:spLocks noGrp="1"/>
          </p:cNvSpPr>
          <p:nvPr>
            <p:ph sz="quarter" idx="41"/>
          </p:nvPr>
        </p:nvSpPr>
        <p:spPr>
          <a:xfrm>
            <a:off x="6480000" y="205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5" name="text 1">
            <a:extLst>
              <a:ext uri="{FF2B5EF4-FFF2-40B4-BE49-F238E27FC236}">
                <a16:creationId xmlns:a16="http://schemas.microsoft.com/office/drawing/2014/main" id="{927C191B-A08F-85D5-D2F2-99828DB99C61}"/>
              </a:ext>
            </a:extLst>
          </p:cNvPr>
          <p:cNvSpPr>
            <a:spLocks noGrp="1"/>
          </p:cNvSpPr>
          <p:nvPr>
            <p:ph type="body" sz="quarter" idx="29"/>
          </p:nvPr>
        </p:nvSpPr>
        <p:spPr>
          <a:xfrm>
            <a:off x="772200" y="1933350"/>
            <a:ext cx="5184000" cy="198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288000" tIns="720000" rIns="288000" bIns="0" rtlCol="0">
            <a:noAutofit/>
          </a:bodyPr>
          <a:lstStyle>
            <a:lvl1pPr>
              <a:defRPr lang="en-US" sz="1200" dirty="0"/>
            </a:lvl1pPr>
            <a:lvl2pPr>
              <a:defRPr lang="en-US" sz="1200" dirty="0"/>
            </a:lvl2pPr>
            <a:lvl3pPr>
              <a:defRPr lang="en-US" sz="1200" dirty="0"/>
            </a:lvl3pPr>
            <a:lvl4pPr>
              <a:defRPr lang="en-US" sz="1200" dirty="0"/>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18" name="Icon-placeholder 1">
            <a:extLst>
              <a:ext uri="{FF2B5EF4-FFF2-40B4-BE49-F238E27FC236}">
                <a16:creationId xmlns:a16="http://schemas.microsoft.com/office/drawing/2014/main" id="{BF2DF158-C122-E218-BDE2-5E6595D1B8CA}"/>
              </a:ext>
            </a:extLst>
          </p:cNvPr>
          <p:cNvSpPr>
            <a:spLocks noGrp="1"/>
          </p:cNvSpPr>
          <p:nvPr>
            <p:ph sz="quarter" idx="23"/>
          </p:nvPr>
        </p:nvSpPr>
        <p:spPr>
          <a:xfrm>
            <a:off x="1080000" y="205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2" name="stripe 1">
            <a:extLst>
              <a:ext uri="{FF2B5EF4-FFF2-40B4-BE49-F238E27FC236}">
                <a16:creationId xmlns:a16="http://schemas.microsoft.com/office/drawing/2014/main" id="{4B1368A1-F8E3-A666-10EC-9578E6615D71}"/>
              </a:ext>
            </a:extLst>
          </p:cNvPr>
          <p:cNvSpPr>
            <a:spLocks noGrp="1"/>
          </p:cNvSpPr>
          <p:nvPr>
            <p:ph type="body" sz="quarter" idx="37" hasCustomPrompt="1"/>
          </p:nvPr>
        </p:nvSpPr>
        <p:spPr>
          <a:xfrm rot="16200000">
            <a:off x="-161110" y="2862665"/>
            <a:ext cx="1980000" cy="108000"/>
          </a:xfrm>
          <a:prstGeom prst="round2SameRect">
            <a:avLst>
              <a:gd name="adj1" fmla="val 35379"/>
              <a:gd name="adj2" fmla="val 0"/>
            </a:avLst>
          </a:prstGeom>
          <a:gradFill>
            <a:gsLst>
              <a:gs pos="0">
                <a:srgbClr val="FF4B4B"/>
              </a:gs>
              <a:gs pos="100000">
                <a:srgbClr val="FF744F"/>
              </a:gs>
            </a:gsLst>
            <a:lin ang="18900000" scaled="0"/>
          </a:gradFill>
        </p:spPr>
        <p:txBody>
          <a:bodyPr/>
          <a:lstStyle/>
          <a:p>
            <a:pPr lvl="0"/>
            <a:r>
              <a:rPr lang="en-US" dirty="0"/>
              <a:t> </a:t>
            </a:r>
            <a:endParaRPr lang="en-DE" dirty="0"/>
          </a:p>
        </p:txBody>
      </p:sp>
      <p:sp>
        <p:nvSpPr>
          <p:cNvPr id="5" name="title">
            <a:extLst>
              <a:ext uri="{FF2B5EF4-FFF2-40B4-BE49-F238E27FC236}">
                <a16:creationId xmlns:a16="http://schemas.microsoft.com/office/drawing/2014/main" id="{A40CDE67-43E3-2705-8865-2677F3CF4561}"/>
              </a:ext>
            </a:extLst>
          </p:cNvPr>
          <p:cNvSpPr>
            <a:spLocks noGrp="1"/>
          </p:cNvSpPr>
          <p:nvPr>
            <p:ph type="title"/>
          </p:nvPr>
        </p:nvSpPr>
        <p:spPr/>
        <p:txBody>
          <a:bodyPr vert="horz"/>
          <a:lstStyle/>
          <a:p>
            <a:r>
              <a:rPr lang="de-DE"/>
              <a:t>Mastertitelformat bearbeiten</a:t>
            </a:r>
            <a:endParaRPr lang="en-US" dirty="0"/>
          </a:p>
        </p:txBody>
      </p:sp>
      <p:sp>
        <p:nvSpPr>
          <p:cNvPr id="16" name="navigation">
            <a:extLst>
              <a:ext uri="{FF2B5EF4-FFF2-40B4-BE49-F238E27FC236}">
                <a16:creationId xmlns:a16="http://schemas.microsoft.com/office/drawing/2014/main" id="{05A7132E-42F4-2481-78AD-C847933B13B8}"/>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414718740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  026a : 5 contents : 1 centered middle">
    <p:spTree>
      <p:nvGrpSpPr>
        <p:cNvPr id="1" name=""/>
        <p:cNvGrpSpPr/>
        <p:nvPr/>
      </p:nvGrpSpPr>
      <p:grpSpPr>
        <a:xfrm>
          <a:off x="0" y="0"/>
          <a:ext cx="0" cy="0"/>
          <a:chOff x="0" y="0"/>
          <a:chExt cx="0" cy="0"/>
        </a:xfrm>
      </p:grpSpPr>
      <p:sp>
        <p:nvSpPr>
          <p:cNvPr id="12" name="slide number">
            <a:extLst>
              <a:ext uri="{FF2B5EF4-FFF2-40B4-BE49-F238E27FC236}">
                <a16:creationId xmlns:a16="http://schemas.microsoft.com/office/drawing/2014/main" id="{7587F319-9817-5E8C-3267-E8B5F5655F9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3" name="footer">
            <a:extLst>
              <a:ext uri="{FF2B5EF4-FFF2-40B4-BE49-F238E27FC236}">
                <a16:creationId xmlns:a16="http://schemas.microsoft.com/office/drawing/2014/main" id="{F5CDEDD9-5767-BF78-73FE-C497E457838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4" name="date">
            <a:extLst>
              <a:ext uri="{FF2B5EF4-FFF2-40B4-BE49-F238E27FC236}">
                <a16:creationId xmlns:a16="http://schemas.microsoft.com/office/drawing/2014/main" id="{184078D7-3AA4-7E7A-E9A2-747978251287}"/>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6" name="content 4">
            <a:extLst>
              <a:ext uri="{FF2B5EF4-FFF2-40B4-BE49-F238E27FC236}">
                <a16:creationId xmlns:a16="http://schemas.microsoft.com/office/drawing/2014/main" id="{B5886103-0D8E-5D01-3B87-1FDDA2E05BE4}"/>
              </a:ext>
            </a:extLst>
          </p:cNvPr>
          <p:cNvSpPr>
            <a:spLocks noGrp="1"/>
          </p:cNvSpPr>
          <p:nvPr>
            <p:ph sz="quarter" idx="25"/>
          </p:nvPr>
        </p:nvSpPr>
        <p:spPr>
          <a:xfrm>
            <a:off x="7308000" y="4007558"/>
            <a:ext cx="4320000" cy="2160000"/>
          </a:xfrm>
          <a:prstGeom prst="rect">
            <a:avLst/>
          </a:prstGeom>
          <a:noFill/>
        </p:spPr>
        <p:txBody>
          <a:bodyPr vert="horz" lIns="180000" tIns="0" rIns="0" bIns="0" rtlCol="0">
            <a:noAutofit/>
          </a:bodyPr>
          <a:lstStyle>
            <a:lvl1pPr>
              <a:defRPr lang="en-US" sz="1200" smtClean="0"/>
            </a:lvl1pPr>
            <a:lvl2pPr>
              <a:defRPr lang="en-US" sz="1200" smtClean="0"/>
            </a:lvl2pPr>
            <a:lvl3pPr>
              <a:defRPr lang="en-US" sz="1200" smtClean="0"/>
            </a:lvl3pPr>
            <a:lvl4pPr>
              <a:defRPr lang="en-US" sz="1200" smtClean="0"/>
            </a:lvl4pPr>
            <a:lvl5pPr>
              <a:defRPr lang="en-US" smtClean="0"/>
            </a:lvl5pPr>
            <a:lvl6pPr>
              <a:defRPr lang="en-US" sz="1200" smtClean="0"/>
            </a:lvl6pPr>
            <a:lvl7pPr>
              <a:defRPr lang="en-US" sz="1200" smtClean="0"/>
            </a:lvl7pPr>
            <a:lvl8pPr>
              <a:defRPr lang="en-US" sz="1200" smtClean="0"/>
            </a:lvl8pPr>
            <a:lvl9pPr>
              <a:defRPr lang="en-US"/>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540000" y="4007558"/>
            <a:ext cx="4320000" cy="2160000"/>
          </a:xfrm>
          <a:prstGeom prst="rect">
            <a:avLst/>
          </a:prstGeom>
          <a:noFill/>
        </p:spPr>
        <p:txBody>
          <a:bodyPr vert="horz" lIns="0" tIns="0" rIns="0" bIns="0" rtlCol="0">
            <a:noAutofit/>
          </a:bodyPr>
          <a:lstStyle>
            <a:lvl1pPr>
              <a:defRPr lang="en-US" sz="1200" smtClean="0"/>
            </a:lvl1pPr>
            <a:lvl2pPr>
              <a:defRPr lang="en-US" sz="1200" smtClean="0"/>
            </a:lvl2pPr>
            <a:lvl3pPr>
              <a:defRPr lang="en-US" sz="1200" smtClean="0"/>
            </a:lvl3pPr>
            <a:lvl4pPr>
              <a:defRPr lang="en-US" sz="1200" smtClean="0"/>
            </a:lvl4pPr>
            <a:lvl5pPr>
              <a:defRPr lang="en-US" smtClean="0"/>
            </a:lvl5pPr>
            <a:lvl6pPr>
              <a:defRPr lang="en-US" sz="1200" smtClean="0"/>
            </a:lvl6pPr>
            <a:lvl7pPr>
              <a:defRPr lang="en-US" sz="1200" smtClean="0"/>
            </a:lvl7pPr>
            <a:lvl8pPr>
              <a:defRPr lang="en-US" sz="1200" smtClean="0"/>
            </a:lvl8pPr>
            <a:lvl9pPr>
              <a:defRPr lang="en-US"/>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7308000" y="1484314"/>
            <a:ext cx="4320000" cy="2160000"/>
          </a:xfrm>
          <a:prstGeom prst="rect">
            <a:avLst/>
          </a:prstGeom>
          <a:noFill/>
        </p:spPr>
        <p:txBody>
          <a:bodyPr vert="horz" lIns="180000" tIns="0" rIns="0" bIns="0" rtlCol="0">
            <a:noAutofit/>
          </a:bodyPr>
          <a:lstStyle>
            <a:lvl1pPr>
              <a:defRPr lang="en-US" sz="1200" smtClean="0"/>
            </a:lvl1pPr>
            <a:lvl2pPr>
              <a:defRPr lang="en-US" sz="1200" smtClean="0"/>
            </a:lvl2pPr>
            <a:lvl3pPr>
              <a:defRPr lang="en-US" sz="1200" smtClean="0"/>
            </a:lvl3pPr>
            <a:lvl4pPr>
              <a:defRPr lang="en-US" sz="1200" smtClean="0"/>
            </a:lvl4pPr>
            <a:lvl5pPr>
              <a:defRPr lang="en-US" smtClean="0"/>
            </a:lvl5pPr>
            <a:lvl6pPr>
              <a:defRPr lang="en-US" sz="1200" smtClean="0"/>
            </a:lvl6pPr>
            <a:lvl7pPr>
              <a:defRPr lang="en-US" sz="1200" smtClean="0"/>
            </a:lvl7pPr>
            <a:lvl8pPr>
              <a:defRPr lang="en-US" sz="1200" smtClean="0"/>
            </a:lvl8pPr>
            <a:lvl9pPr>
              <a:defRPr lang="en-US"/>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84805"/>
            <a:ext cx="4320000" cy="216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dirty="0"/>
            </a:lvl5pPr>
            <a:lvl6pPr>
              <a:defRPr lang="en-US" sz="1200" dirty="0"/>
            </a:lvl6pPr>
            <a:lvl7pPr>
              <a:defRPr lang="en-US" sz="1200" dirty="0"/>
            </a:lvl7pPr>
            <a:lvl8pPr>
              <a:defRPr lang="en-US" sz="1200"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main in the miiddle">
            <a:extLst>
              <a:ext uri="{FF2B5EF4-FFF2-40B4-BE49-F238E27FC236}">
                <a16:creationId xmlns:a16="http://schemas.microsoft.com/office/drawing/2014/main" id="{AA3ACE44-5641-3F61-A3CF-F1F630AC864C}"/>
              </a:ext>
            </a:extLst>
          </p:cNvPr>
          <p:cNvSpPr>
            <a:spLocks noGrp="1"/>
          </p:cNvSpPr>
          <p:nvPr>
            <p:ph sz="quarter" idx="26"/>
          </p:nvPr>
        </p:nvSpPr>
        <p:spPr>
          <a:xfrm>
            <a:off x="4987038" y="2714663"/>
            <a:ext cx="2232000" cy="2232000"/>
          </a:xfrm>
          <a:noFill/>
        </p:spPr>
        <p:txBody>
          <a:bodyPr vert="horz" lIns="0" tIns="0" rIns="0" bIns="0" rtlCol="0" anchor="ctr">
            <a:noAutofit/>
          </a:bodyPr>
          <a:lstStyle>
            <a:lvl1pPr algn="ctr">
              <a:defRPr lang="en-US" sz="1200" smtClean="0"/>
            </a:lvl1pPr>
            <a:lvl2pPr algn="ctr">
              <a:defRPr lang="en-US" sz="1200" smtClean="0"/>
            </a:lvl2pPr>
            <a:lvl3pPr algn="ctr">
              <a:defRPr lang="en-US" sz="1200" smtClean="0"/>
            </a:lvl3pPr>
            <a:lvl4pPr algn="ctr">
              <a:defRPr lang="en-US" sz="1200" smtClean="0"/>
            </a:lvl4pPr>
            <a:lvl5pPr algn="ctr">
              <a:defRPr lang="en-US" smtClean="0"/>
            </a:lvl5pPr>
            <a:lvl6pPr algn="ctr">
              <a:defRPr lang="en-US" sz="1200" smtClean="0"/>
            </a:lvl6pPr>
            <a:lvl7pPr algn="ctr">
              <a:defRPr lang="en-US" sz="1200" smtClean="0"/>
            </a:lvl7pPr>
            <a:lvl8pPr algn="ctr">
              <a:defRPr lang="en-US" sz="1200" smtClean="0"/>
            </a:lvl8pPr>
            <a:lvl9pPr algn="ctr">
              <a:defRPr lang="en-US"/>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5" name="navigation">
            <a:extLst>
              <a:ext uri="{FF2B5EF4-FFF2-40B4-BE49-F238E27FC236}">
                <a16:creationId xmlns:a16="http://schemas.microsoft.com/office/drawing/2014/main" id="{E2DB2781-02B7-8F48-880C-0864DAF6A9C6}"/>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52453888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  027 : 5 content-circles : 5 contents">
    <p:spTree>
      <p:nvGrpSpPr>
        <p:cNvPr id="1" name=""/>
        <p:cNvGrpSpPr/>
        <p:nvPr/>
      </p:nvGrpSpPr>
      <p:grpSpPr>
        <a:xfrm>
          <a:off x="0" y="0"/>
          <a:ext cx="0" cy="0"/>
          <a:chOff x="0" y="0"/>
          <a:chExt cx="0" cy="0"/>
        </a:xfrm>
      </p:grpSpPr>
      <p:sp>
        <p:nvSpPr>
          <p:cNvPr id="16" name="slide number">
            <a:extLst>
              <a:ext uri="{FF2B5EF4-FFF2-40B4-BE49-F238E27FC236}">
                <a16:creationId xmlns:a16="http://schemas.microsoft.com/office/drawing/2014/main" id="{3D9D7E91-9080-9BA5-E306-8933FE0F0585}"/>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8" name="footer">
            <a:extLst>
              <a:ext uri="{FF2B5EF4-FFF2-40B4-BE49-F238E27FC236}">
                <a16:creationId xmlns:a16="http://schemas.microsoft.com/office/drawing/2014/main" id="{E45A1343-BD59-81CA-3D94-C6FF528BD5B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9" name="date">
            <a:extLst>
              <a:ext uri="{FF2B5EF4-FFF2-40B4-BE49-F238E27FC236}">
                <a16:creationId xmlns:a16="http://schemas.microsoft.com/office/drawing/2014/main" id="{E8E2844F-60D7-0998-FD9D-47B82960A164}"/>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5" name="content 5">
            <a:extLst>
              <a:ext uri="{FF2B5EF4-FFF2-40B4-BE49-F238E27FC236}">
                <a16:creationId xmlns:a16="http://schemas.microsoft.com/office/drawing/2014/main" id="{2A0D5407-F643-F9E8-6739-DC94AEDEB3C9}"/>
              </a:ext>
            </a:extLst>
          </p:cNvPr>
          <p:cNvSpPr>
            <a:spLocks noGrp="1"/>
          </p:cNvSpPr>
          <p:nvPr>
            <p:ph sz="quarter" idx="26"/>
          </p:nvPr>
        </p:nvSpPr>
        <p:spPr>
          <a:xfrm>
            <a:off x="9658863" y="3429000"/>
            <a:ext cx="2160000" cy="2736500"/>
          </a:xfrm>
          <a:prstGeom prst="rect">
            <a:avLst/>
          </a:prstGeom>
          <a:noFill/>
        </p:spPr>
        <p:txBody>
          <a:bodyPr vert="horz" lIns="0" tIns="0" rIns="360000" bIns="0" rtlCol="0" anchor="t" anchorCtr="0">
            <a:noAutofit/>
          </a:bodyPr>
          <a:lstStyle>
            <a:lvl1pPr>
              <a:defRPr lang="en-US" sz="1400" dirty="0"/>
            </a:lvl1pPr>
            <a:lvl2pPr>
              <a:defRPr lang="en-US" sz="1400" dirty="0"/>
            </a:lvl2pPr>
            <a:lvl3pPr>
              <a:defRPr lang="en-US" sz="1400" dirty="0"/>
            </a:lvl3pPr>
            <a:lvl4pPr>
              <a:defRPr lang="en-US" sz="1400" dirty="0"/>
            </a:lvl4pPr>
            <a:lvl5pPr>
              <a:defRPr lang="nl-NL" sz="1400" noProof="0" dirty="0"/>
            </a:lvl5pPr>
            <a:lvl6pPr>
              <a:defRPr lang="nl-NL" sz="1400" noProof="0" dirty="0"/>
            </a:lvl6pPr>
            <a:lvl7pPr>
              <a:defRPr lang="nl-NL" sz="1400" noProof="0" dirty="0"/>
            </a:lvl7pPr>
            <a:lvl8pPr>
              <a:defRPr lang="nl-NL" sz="1400" noProof="0" dirty="0"/>
            </a:lvl8pPr>
            <a:lvl9pPr>
              <a:defRPr lang="nl-NL" sz="1400" noProof="0" dirty="0"/>
            </a:lvl9pPr>
          </a:lstStyle>
          <a:p>
            <a:pPr lvl="0"/>
            <a:r>
              <a:rPr lang="de-DE"/>
              <a:t>Mastertextformat bearbeiten</a:t>
            </a:r>
          </a:p>
        </p:txBody>
      </p:sp>
      <p:sp>
        <p:nvSpPr>
          <p:cNvPr id="40" name="circle 5">
            <a:extLst>
              <a:ext uri="{FF2B5EF4-FFF2-40B4-BE49-F238E27FC236}">
                <a16:creationId xmlns:a16="http://schemas.microsoft.com/office/drawing/2014/main" id="{9B320BE7-2C37-0A5C-A03A-78FDCDE8E160}"/>
              </a:ext>
            </a:extLst>
          </p:cNvPr>
          <p:cNvSpPr>
            <a:spLocks noGrp="1"/>
          </p:cNvSpPr>
          <p:nvPr>
            <p:ph type="body" idx="46" hasCustomPrompt="1"/>
          </p:nvPr>
        </p:nvSpPr>
        <p:spPr>
          <a:xfrm>
            <a:off x="9605567" y="1719500"/>
            <a:ext cx="1260000" cy="1260000"/>
          </a:xfrm>
          <a:prstGeom prst="ellipse">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33" name="Icon-placeholder 5">
            <a:extLst>
              <a:ext uri="{FF2B5EF4-FFF2-40B4-BE49-F238E27FC236}">
                <a16:creationId xmlns:a16="http://schemas.microsoft.com/office/drawing/2014/main" id="{B808016F-4B16-4650-0C2E-264DB5011B3F}"/>
              </a:ext>
            </a:extLst>
          </p:cNvPr>
          <p:cNvSpPr>
            <a:spLocks noGrp="1"/>
          </p:cNvSpPr>
          <p:nvPr>
            <p:ph sz="quarter" idx="40"/>
          </p:nvPr>
        </p:nvSpPr>
        <p:spPr>
          <a:xfrm>
            <a:off x="9965568" y="20795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6" name="content 4">
            <a:extLst>
              <a:ext uri="{FF2B5EF4-FFF2-40B4-BE49-F238E27FC236}">
                <a16:creationId xmlns:a16="http://schemas.microsoft.com/office/drawing/2014/main" id="{B5886103-0D8E-5D01-3B87-1FDDA2E05BE4}"/>
              </a:ext>
            </a:extLst>
          </p:cNvPr>
          <p:cNvSpPr>
            <a:spLocks noGrp="1"/>
          </p:cNvSpPr>
          <p:nvPr>
            <p:ph sz="quarter" idx="25"/>
          </p:nvPr>
        </p:nvSpPr>
        <p:spPr>
          <a:xfrm>
            <a:off x="7379148" y="3429000"/>
            <a:ext cx="2160000" cy="2736500"/>
          </a:xfrm>
          <a:prstGeom prst="rect">
            <a:avLst/>
          </a:prstGeom>
          <a:noFill/>
        </p:spPr>
        <p:txBody>
          <a:bodyPr vert="horz" lIns="0" tIns="0" rIns="360000" bIns="0" rtlCol="0" anchor="t" anchorCtr="0">
            <a:noAutofit/>
          </a:bodyPr>
          <a:lstStyle>
            <a:lvl1pPr>
              <a:defRPr lang="en-US" sz="1400" dirty="0"/>
            </a:lvl1pPr>
            <a:lvl2pPr>
              <a:defRPr lang="en-US" sz="1400" dirty="0"/>
            </a:lvl2pPr>
            <a:lvl3pPr>
              <a:defRPr lang="en-US" sz="1400" dirty="0"/>
            </a:lvl3pPr>
            <a:lvl4pPr>
              <a:defRPr lang="en-US" sz="1400" dirty="0"/>
            </a:lvl4pPr>
            <a:lvl5pPr>
              <a:defRPr lang="nl-NL" sz="1400" noProof="0" dirty="0"/>
            </a:lvl5pPr>
            <a:lvl6pPr>
              <a:defRPr lang="nl-NL" sz="1400" noProof="0" dirty="0"/>
            </a:lvl6pPr>
            <a:lvl7pPr>
              <a:defRPr lang="nl-NL" sz="1400" noProof="0" dirty="0"/>
            </a:lvl7pPr>
            <a:lvl8pPr>
              <a:defRPr lang="nl-NL" sz="1400" noProof="0" dirty="0"/>
            </a:lvl8pPr>
            <a:lvl9pPr>
              <a:defRPr lang="nl-NL" sz="1400" noProof="0" dirty="0"/>
            </a:lvl9pPr>
          </a:lstStyle>
          <a:p>
            <a:pPr lvl="0"/>
            <a:r>
              <a:rPr lang="de-DE"/>
              <a:t>Mastertextformat bearbeiten</a:t>
            </a:r>
          </a:p>
        </p:txBody>
      </p:sp>
      <p:sp>
        <p:nvSpPr>
          <p:cNvPr id="39" name="circle 4">
            <a:extLst>
              <a:ext uri="{FF2B5EF4-FFF2-40B4-BE49-F238E27FC236}">
                <a16:creationId xmlns:a16="http://schemas.microsoft.com/office/drawing/2014/main" id="{B384D12F-6EC3-A163-D4A1-06E336F9D48C}"/>
              </a:ext>
            </a:extLst>
          </p:cNvPr>
          <p:cNvSpPr>
            <a:spLocks noGrp="1"/>
          </p:cNvSpPr>
          <p:nvPr>
            <p:ph type="body" idx="45" hasCustomPrompt="1"/>
          </p:nvPr>
        </p:nvSpPr>
        <p:spPr>
          <a:xfrm>
            <a:off x="7337453" y="1719500"/>
            <a:ext cx="1260000" cy="1260000"/>
          </a:xfrm>
          <a:prstGeom prst="ellipse">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31" name="Icon-placeholder 4">
            <a:extLst>
              <a:ext uri="{FF2B5EF4-FFF2-40B4-BE49-F238E27FC236}">
                <a16:creationId xmlns:a16="http://schemas.microsoft.com/office/drawing/2014/main" id="{785B09EF-B8C5-9434-9255-D57FC85E64E4}"/>
              </a:ext>
            </a:extLst>
          </p:cNvPr>
          <p:cNvSpPr>
            <a:spLocks noGrp="1"/>
          </p:cNvSpPr>
          <p:nvPr>
            <p:ph sz="quarter" idx="38"/>
          </p:nvPr>
        </p:nvSpPr>
        <p:spPr>
          <a:xfrm>
            <a:off x="7697453" y="20795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5099432" y="3429000"/>
            <a:ext cx="2160000" cy="2736500"/>
          </a:xfrm>
          <a:prstGeom prst="rect">
            <a:avLst/>
          </a:prstGeom>
          <a:noFill/>
        </p:spPr>
        <p:txBody>
          <a:bodyPr vert="horz" lIns="0" tIns="0" rIns="360000" bIns="0" rtlCol="0" anchor="t" anchorCtr="0">
            <a:noAutofit/>
          </a:bodyPr>
          <a:lstStyle>
            <a:lvl1pPr>
              <a:defRPr lang="en-US" sz="1400" dirty="0"/>
            </a:lvl1pPr>
            <a:lvl2pPr>
              <a:defRPr lang="en-US" sz="1400" dirty="0"/>
            </a:lvl2pPr>
            <a:lvl3pPr>
              <a:defRPr lang="en-US" sz="1400" dirty="0"/>
            </a:lvl3pPr>
            <a:lvl4pPr>
              <a:defRPr lang="en-US" sz="1400" dirty="0"/>
            </a:lvl4pPr>
            <a:lvl5pPr>
              <a:defRPr lang="nl-NL" sz="1400" noProof="0" dirty="0"/>
            </a:lvl5pPr>
            <a:lvl6pPr>
              <a:defRPr lang="nl-NL" sz="1400" noProof="0" dirty="0"/>
            </a:lvl6pPr>
            <a:lvl7pPr>
              <a:defRPr lang="nl-NL" sz="1400" noProof="0" dirty="0"/>
            </a:lvl7pPr>
            <a:lvl8pPr>
              <a:defRPr lang="nl-NL" sz="1400" noProof="0" dirty="0"/>
            </a:lvl8pPr>
            <a:lvl9pPr>
              <a:defRPr lang="nl-NL" sz="1400" noProof="0" dirty="0"/>
            </a:lvl9pPr>
          </a:lstStyle>
          <a:p>
            <a:pPr lvl="0"/>
            <a:r>
              <a:rPr lang="de-DE"/>
              <a:t>Mastertextformat bearbeiten</a:t>
            </a:r>
          </a:p>
        </p:txBody>
      </p:sp>
      <p:sp>
        <p:nvSpPr>
          <p:cNvPr id="38" name="circle 3">
            <a:extLst>
              <a:ext uri="{FF2B5EF4-FFF2-40B4-BE49-F238E27FC236}">
                <a16:creationId xmlns:a16="http://schemas.microsoft.com/office/drawing/2014/main" id="{89F90057-16C4-BBA7-D79B-D697902D98B6}"/>
              </a:ext>
            </a:extLst>
          </p:cNvPr>
          <p:cNvSpPr>
            <a:spLocks noGrp="1"/>
          </p:cNvSpPr>
          <p:nvPr>
            <p:ph type="body" idx="44" hasCustomPrompt="1"/>
          </p:nvPr>
        </p:nvSpPr>
        <p:spPr>
          <a:xfrm>
            <a:off x="5069339" y="1719500"/>
            <a:ext cx="1260000" cy="1260000"/>
          </a:xfrm>
          <a:prstGeom prst="ellipse">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9" name="Icon-placeholder 3">
            <a:extLst>
              <a:ext uri="{FF2B5EF4-FFF2-40B4-BE49-F238E27FC236}">
                <a16:creationId xmlns:a16="http://schemas.microsoft.com/office/drawing/2014/main" id="{FF7919E9-EC30-DE68-47FE-20E3D3DB9A12}"/>
              </a:ext>
            </a:extLst>
          </p:cNvPr>
          <p:cNvSpPr>
            <a:spLocks noGrp="1"/>
          </p:cNvSpPr>
          <p:nvPr>
            <p:ph sz="quarter" idx="36"/>
          </p:nvPr>
        </p:nvSpPr>
        <p:spPr>
          <a:xfrm>
            <a:off x="5429339" y="20795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2819716" y="3429000"/>
            <a:ext cx="2160000" cy="2736500"/>
          </a:xfrm>
          <a:prstGeom prst="rect">
            <a:avLst/>
          </a:prstGeom>
          <a:noFill/>
        </p:spPr>
        <p:txBody>
          <a:bodyPr vert="horz" lIns="0" tIns="0" rIns="360000" bIns="0" rtlCol="0" anchor="t" anchorCtr="0">
            <a:noAutofit/>
          </a:bodyPr>
          <a:lstStyle>
            <a:lvl1pPr>
              <a:defRPr lang="en-US" sz="1400" dirty="0"/>
            </a:lvl1pPr>
            <a:lvl2pPr>
              <a:defRPr lang="en-US" sz="1400" dirty="0"/>
            </a:lvl2pPr>
            <a:lvl3pPr>
              <a:defRPr lang="en-US" sz="1400" dirty="0"/>
            </a:lvl3pPr>
            <a:lvl4pPr>
              <a:defRPr lang="en-US" sz="1400" dirty="0"/>
            </a:lvl4pPr>
            <a:lvl5pPr>
              <a:defRPr lang="nl-NL" sz="1400" noProof="0" dirty="0"/>
            </a:lvl5pPr>
            <a:lvl6pPr>
              <a:defRPr lang="nl-NL" sz="1400" noProof="0" dirty="0"/>
            </a:lvl6pPr>
            <a:lvl7pPr>
              <a:defRPr lang="nl-NL" sz="1400" noProof="0" dirty="0"/>
            </a:lvl7pPr>
            <a:lvl8pPr>
              <a:defRPr lang="nl-NL" sz="1400" noProof="0" dirty="0"/>
            </a:lvl8pPr>
            <a:lvl9pPr>
              <a:defRPr lang="nl-NL" sz="1400" noProof="0" dirty="0"/>
            </a:lvl9pPr>
          </a:lstStyle>
          <a:p>
            <a:pPr lvl="0"/>
            <a:r>
              <a:rPr lang="de-DE"/>
              <a:t>Mastertextformat bearbeiten</a:t>
            </a:r>
          </a:p>
        </p:txBody>
      </p:sp>
      <p:sp>
        <p:nvSpPr>
          <p:cNvPr id="37" name="circle 2">
            <a:extLst>
              <a:ext uri="{FF2B5EF4-FFF2-40B4-BE49-F238E27FC236}">
                <a16:creationId xmlns:a16="http://schemas.microsoft.com/office/drawing/2014/main" id="{188DCCB7-D30D-6A78-25B3-813B9C6565CD}"/>
              </a:ext>
            </a:extLst>
          </p:cNvPr>
          <p:cNvSpPr>
            <a:spLocks noGrp="1"/>
          </p:cNvSpPr>
          <p:nvPr>
            <p:ph type="body" idx="43" hasCustomPrompt="1"/>
          </p:nvPr>
        </p:nvSpPr>
        <p:spPr>
          <a:xfrm>
            <a:off x="2795041" y="1719500"/>
            <a:ext cx="1260000" cy="1260000"/>
          </a:xfrm>
          <a:prstGeom prst="ellipse">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7" name="Icon-placeholder 2">
            <a:extLst>
              <a:ext uri="{FF2B5EF4-FFF2-40B4-BE49-F238E27FC236}">
                <a16:creationId xmlns:a16="http://schemas.microsoft.com/office/drawing/2014/main" id="{C9CB027B-6FB1-929F-2755-CF600835D968}"/>
              </a:ext>
            </a:extLst>
          </p:cNvPr>
          <p:cNvSpPr>
            <a:spLocks noGrp="1"/>
          </p:cNvSpPr>
          <p:nvPr>
            <p:ph sz="quarter" idx="34"/>
          </p:nvPr>
        </p:nvSpPr>
        <p:spPr>
          <a:xfrm>
            <a:off x="3161225" y="20795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3429000"/>
            <a:ext cx="2160000" cy="2736500"/>
          </a:xfrm>
          <a:prstGeom prst="rect">
            <a:avLst/>
          </a:prstGeom>
          <a:noFill/>
        </p:spPr>
        <p:txBody>
          <a:bodyPr vert="horz" lIns="0" tIns="0" rIns="360000" bIns="0" rtlCol="0" anchor="t" anchorCtr="0">
            <a:noAutofit/>
          </a:bodyPr>
          <a:lstStyle>
            <a:lvl1pPr>
              <a:defRPr lang="en-US" sz="1400" dirty="0"/>
            </a:lvl1pPr>
            <a:lvl2pPr>
              <a:defRPr lang="en-US" sz="1400" dirty="0"/>
            </a:lvl2pPr>
            <a:lvl3pPr>
              <a:defRPr lang="en-US" sz="1400" dirty="0"/>
            </a:lvl3pPr>
            <a:lvl4pPr>
              <a:defRPr lang="en-US" sz="1400" dirty="0"/>
            </a:lvl4pPr>
            <a:lvl5pPr>
              <a:defRPr lang="nl-NL" sz="1400" noProof="0" dirty="0"/>
            </a:lvl5pPr>
            <a:lvl6pPr>
              <a:defRPr lang="nl-NL" sz="1400" noProof="0" dirty="0"/>
            </a:lvl6pPr>
            <a:lvl7pPr>
              <a:defRPr lang="nl-NL" sz="1400" noProof="0" dirty="0"/>
            </a:lvl7pPr>
            <a:lvl8pPr>
              <a:defRPr lang="nl-NL" sz="1400" noProof="0" dirty="0"/>
            </a:lvl8pPr>
            <a:lvl9pPr>
              <a:defRPr lang="nl-NL" sz="1400" noProof="0" dirty="0"/>
            </a:lvl9pPr>
          </a:lstStyle>
          <a:p>
            <a:pPr lvl="0"/>
            <a:r>
              <a:rPr lang="de-DE"/>
              <a:t>Mastertextformat bearbeiten</a:t>
            </a:r>
          </a:p>
        </p:txBody>
      </p:sp>
      <p:sp>
        <p:nvSpPr>
          <p:cNvPr id="35" name="circle 1">
            <a:extLst>
              <a:ext uri="{FF2B5EF4-FFF2-40B4-BE49-F238E27FC236}">
                <a16:creationId xmlns:a16="http://schemas.microsoft.com/office/drawing/2014/main" id="{C3CDCE4D-5523-DB5C-6233-DE77CE958ED0}"/>
              </a:ext>
            </a:extLst>
          </p:cNvPr>
          <p:cNvSpPr>
            <a:spLocks noGrp="1"/>
          </p:cNvSpPr>
          <p:nvPr>
            <p:ph type="body" idx="1" hasCustomPrompt="1"/>
          </p:nvPr>
        </p:nvSpPr>
        <p:spPr>
          <a:xfrm>
            <a:off x="553688" y="1719500"/>
            <a:ext cx="1260000" cy="1260000"/>
          </a:xfrm>
          <a:prstGeom prst="ellipse">
            <a:avLst/>
          </a:prstGeom>
          <a:solidFill>
            <a:schemeClr val="bg1"/>
          </a:solidFill>
          <a:ln w="6350">
            <a:solidFill>
              <a:schemeClr val="accent4">
                <a:lumMod val="75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36" name="Icon-placeholder 1">
            <a:extLst>
              <a:ext uri="{FF2B5EF4-FFF2-40B4-BE49-F238E27FC236}">
                <a16:creationId xmlns:a16="http://schemas.microsoft.com/office/drawing/2014/main" id="{EA206033-AF1D-4F6B-EBBB-9E451AFAC80E}"/>
              </a:ext>
            </a:extLst>
          </p:cNvPr>
          <p:cNvSpPr>
            <a:spLocks noGrp="1"/>
          </p:cNvSpPr>
          <p:nvPr>
            <p:ph sz="quarter" idx="42"/>
          </p:nvPr>
        </p:nvSpPr>
        <p:spPr>
          <a:xfrm>
            <a:off x="913688" y="20795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8" name="navigation">
            <a:extLst>
              <a:ext uri="{FF2B5EF4-FFF2-40B4-BE49-F238E27FC236}">
                <a16:creationId xmlns:a16="http://schemas.microsoft.com/office/drawing/2014/main" id="{5625633C-7FB0-A4CD-BAD7-50BBD6F55FB2}"/>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414997087"/>
      </p:ext>
    </p:extLst>
  </p:cSld>
  <p:clrMapOvr>
    <a:masterClrMapping/>
  </p:clrMapOvr>
  <p:extLst>
    <p:ext uri="{DCECCB84-F9BA-43D5-87BE-67443E8EF086}">
      <p15:sldGuideLst xmlns:p15="http://schemas.microsoft.com/office/powerpoint/2012/main">
        <p15:guide id="1" orient="horz" pos="148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  028 : 5 circles : 5 contents">
    <p:spTree>
      <p:nvGrpSpPr>
        <p:cNvPr id="1" name=""/>
        <p:cNvGrpSpPr/>
        <p:nvPr/>
      </p:nvGrpSpPr>
      <p:grpSpPr>
        <a:xfrm>
          <a:off x="0" y="0"/>
          <a:ext cx="0" cy="0"/>
          <a:chOff x="0" y="0"/>
          <a:chExt cx="0" cy="0"/>
        </a:xfrm>
      </p:grpSpPr>
      <p:sp>
        <p:nvSpPr>
          <p:cNvPr id="15" name="slide number">
            <a:extLst>
              <a:ext uri="{FF2B5EF4-FFF2-40B4-BE49-F238E27FC236}">
                <a16:creationId xmlns:a16="http://schemas.microsoft.com/office/drawing/2014/main" id="{8BAD3777-8CEA-B48C-2AEE-F9C58CF2B9A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6" name="footer">
            <a:extLst>
              <a:ext uri="{FF2B5EF4-FFF2-40B4-BE49-F238E27FC236}">
                <a16:creationId xmlns:a16="http://schemas.microsoft.com/office/drawing/2014/main" id="{13AFAD36-E203-AFE3-95B6-80326D424BA4}"/>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8" name="date">
            <a:extLst>
              <a:ext uri="{FF2B5EF4-FFF2-40B4-BE49-F238E27FC236}">
                <a16:creationId xmlns:a16="http://schemas.microsoft.com/office/drawing/2014/main" id="{D3778A2E-0F42-B2F4-D98B-BAC1B3FD2D4D}"/>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4" name="link 5">
            <a:extLst>
              <a:ext uri="{FF2B5EF4-FFF2-40B4-BE49-F238E27FC236}">
                <a16:creationId xmlns:a16="http://schemas.microsoft.com/office/drawing/2014/main" id="{0D5E6ABF-D3BA-8BE2-FE35-335E5B31DED0}"/>
              </a:ext>
            </a:extLst>
          </p:cNvPr>
          <p:cNvSpPr>
            <a:spLocks noGrp="1"/>
          </p:cNvSpPr>
          <p:nvPr>
            <p:ph sz="quarter" idx="35" hasCustomPrompt="1"/>
          </p:nvPr>
        </p:nvSpPr>
        <p:spPr>
          <a:xfrm>
            <a:off x="9475500" y="5805850"/>
            <a:ext cx="1429137" cy="359999"/>
          </a:xfrm>
          <a:prstGeom prst="roundRect">
            <a:avLst>
              <a:gd name="adj" fmla="val 50000"/>
            </a:avLst>
          </a:prstGeom>
          <a:gradFill>
            <a:gsLst>
              <a:gs pos="0">
                <a:srgbClr val="FF4B4B"/>
              </a:gs>
              <a:gs pos="100000">
                <a:srgbClr val="FF744F"/>
              </a:gs>
            </a:gsLst>
            <a:lin ang="18900000" scaled="0"/>
          </a:gradFill>
        </p:spPr>
        <p:txBody>
          <a:bodyPr vert="horz" lIns="108000" tIns="0" rIns="108000" bIns="36000" rtlCol="0" anchor="ctr">
            <a:noAutofit/>
          </a:bodyPr>
          <a:lstStyle>
            <a:lvl1pPr>
              <a:defRPr lang="en-DE" sz="1100" cap="all" spc="40" dirty="0">
                <a:solidFill>
                  <a:schemeClr val="bg1"/>
                </a:solidFill>
                <a:latin typeface="Segoe UI Semibold" panose="020B0702040204020203" pitchFamily="34" charset="0"/>
                <a:cs typeface="Segoe UI Semibold" panose="020B0702040204020203" pitchFamily="34" charset="0"/>
              </a:defRPr>
            </a:lvl1pPr>
          </a:lstStyle>
          <a:p>
            <a:pPr lvl="0" algn="ctr"/>
            <a:r>
              <a:rPr lang="de-DE" dirty="0"/>
              <a:t>TEXT</a:t>
            </a:r>
          </a:p>
        </p:txBody>
      </p:sp>
      <p:sp>
        <p:nvSpPr>
          <p:cNvPr id="5" name="content 5">
            <a:extLst>
              <a:ext uri="{FF2B5EF4-FFF2-40B4-BE49-F238E27FC236}">
                <a16:creationId xmlns:a16="http://schemas.microsoft.com/office/drawing/2014/main" id="{2A0D5407-F643-F9E8-6739-DC94AEDEB3C9}"/>
              </a:ext>
            </a:extLst>
          </p:cNvPr>
          <p:cNvSpPr>
            <a:spLocks noGrp="1"/>
          </p:cNvSpPr>
          <p:nvPr>
            <p:ph sz="quarter" idx="26"/>
          </p:nvPr>
        </p:nvSpPr>
        <p:spPr>
          <a:xfrm>
            <a:off x="9475500" y="4005850"/>
            <a:ext cx="2160000" cy="216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24" name="text circle">
            <a:extLst>
              <a:ext uri="{FF2B5EF4-FFF2-40B4-BE49-F238E27FC236}">
                <a16:creationId xmlns:a16="http://schemas.microsoft.com/office/drawing/2014/main" id="{FD4675FD-4A8E-9235-3FD4-47FD3C37A810}"/>
              </a:ext>
            </a:extLst>
          </p:cNvPr>
          <p:cNvSpPr>
            <a:spLocks noGrp="1"/>
          </p:cNvSpPr>
          <p:nvPr>
            <p:ph type="body" idx="30" hasCustomPrompt="1"/>
          </p:nvPr>
        </p:nvSpPr>
        <p:spPr>
          <a:xfrm>
            <a:off x="9553138" y="1805799"/>
            <a:ext cx="1800000" cy="1800000"/>
          </a:xfrm>
          <a:prstGeom prst="flowChartConnector">
            <a:avLst/>
          </a:prstGeom>
          <a:solidFill>
            <a:schemeClr val="accent2"/>
          </a:solidFill>
          <a:effectLst/>
        </p:spPr>
        <p:txBody>
          <a:bodyPr vert="horz" lIns="108000" tIns="432000" rIns="0" bIns="0" rtlCol="0" anchor="ctr" anchorCtr="1">
            <a:noAutofit/>
          </a:bodyPr>
          <a:lstStyle>
            <a:lvl1pPr>
              <a:defRPr lang="en-US" sz="4800" dirty="0">
                <a:solidFill>
                  <a:schemeClr val="bg1"/>
                </a:solidFill>
                <a:latin typeface="Segoe UI Semibold" panose="020B0702040204020203" pitchFamily="34" charset="0"/>
                <a:cs typeface="Segoe UI Semibold" panose="020B0702040204020203" pitchFamily="34" charset="0"/>
              </a:defRPr>
            </a:lvl1pPr>
          </a:lstStyle>
          <a:p>
            <a:pPr lvl="0" algn="ctr">
              <a:lnSpc>
                <a:spcPct val="100000"/>
              </a:lnSpc>
              <a:spcBef>
                <a:spcPts val="0"/>
              </a:spcBef>
              <a:spcAft>
                <a:spcPts val="0"/>
              </a:spcAft>
            </a:pPr>
            <a:r>
              <a:rPr lang="en-US" dirty="0"/>
              <a:t>x</a:t>
            </a:r>
          </a:p>
        </p:txBody>
      </p:sp>
      <p:sp>
        <p:nvSpPr>
          <p:cNvPr id="13" name="link 4">
            <a:extLst>
              <a:ext uri="{FF2B5EF4-FFF2-40B4-BE49-F238E27FC236}">
                <a16:creationId xmlns:a16="http://schemas.microsoft.com/office/drawing/2014/main" id="{222452DA-B69F-55AF-318B-5219F18EDFFE}"/>
              </a:ext>
            </a:extLst>
          </p:cNvPr>
          <p:cNvSpPr>
            <a:spLocks noGrp="1"/>
          </p:cNvSpPr>
          <p:nvPr>
            <p:ph sz="quarter" idx="34" hasCustomPrompt="1"/>
          </p:nvPr>
        </p:nvSpPr>
        <p:spPr>
          <a:xfrm>
            <a:off x="7241625" y="5805850"/>
            <a:ext cx="1429137" cy="359999"/>
          </a:xfrm>
          <a:prstGeom prst="roundRect">
            <a:avLst>
              <a:gd name="adj" fmla="val 50000"/>
            </a:avLst>
          </a:prstGeom>
          <a:gradFill>
            <a:gsLst>
              <a:gs pos="0">
                <a:srgbClr val="FF4B4B"/>
              </a:gs>
              <a:gs pos="100000">
                <a:srgbClr val="FF744F"/>
              </a:gs>
            </a:gsLst>
            <a:lin ang="18900000" scaled="0"/>
          </a:gradFill>
        </p:spPr>
        <p:txBody>
          <a:bodyPr vert="horz" lIns="108000" tIns="0" rIns="108000" bIns="36000" rtlCol="0" anchor="ctr">
            <a:noAutofit/>
          </a:bodyPr>
          <a:lstStyle>
            <a:lvl1pPr>
              <a:defRPr lang="en-DE" sz="1100" cap="all" spc="40" dirty="0">
                <a:solidFill>
                  <a:schemeClr val="bg1"/>
                </a:solidFill>
                <a:latin typeface="Segoe UI Semibold" panose="020B0702040204020203" pitchFamily="34" charset="0"/>
                <a:cs typeface="Segoe UI Semibold" panose="020B0702040204020203" pitchFamily="34" charset="0"/>
              </a:defRPr>
            </a:lvl1pPr>
          </a:lstStyle>
          <a:p>
            <a:pPr lvl="0" algn="ctr"/>
            <a:r>
              <a:rPr lang="de-DE" dirty="0"/>
              <a:t>TEXT</a:t>
            </a:r>
          </a:p>
        </p:txBody>
      </p:sp>
      <p:sp>
        <p:nvSpPr>
          <p:cNvPr id="6" name="content 4">
            <a:extLst>
              <a:ext uri="{FF2B5EF4-FFF2-40B4-BE49-F238E27FC236}">
                <a16:creationId xmlns:a16="http://schemas.microsoft.com/office/drawing/2014/main" id="{B5886103-0D8E-5D01-3B87-1FDDA2E05BE4}"/>
              </a:ext>
            </a:extLst>
          </p:cNvPr>
          <p:cNvSpPr>
            <a:spLocks noGrp="1"/>
          </p:cNvSpPr>
          <p:nvPr>
            <p:ph sz="quarter" idx="25"/>
          </p:nvPr>
        </p:nvSpPr>
        <p:spPr>
          <a:xfrm>
            <a:off x="7241625" y="4005850"/>
            <a:ext cx="2160000" cy="216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23" name="text circle">
            <a:extLst>
              <a:ext uri="{FF2B5EF4-FFF2-40B4-BE49-F238E27FC236}">
                <a16:creationId xmlns:a16="http://schemas.microsoft.com/office/drawing/2014/main" id="{738E42BE-60E4-A207-F932-E4C0D977BF38}"/>
              </a:ext>
            </a:extLst>
          </p:cNvPr>
          <p:cNvSpPr>
            <a:spLocks noGrp="1"/>
          </p:cNvSpPr>
          <p:nvPr>
            <p:ph type="body" idx="29" hasCustomPrompt="1"/>
          </p:nvPr>
        </p:nvSpPr>
        <p:spPr>
          <a:xfrm>
            <a:off x="7241625" y="2117199"/>
            <a:ext cx="1260000" cy="1260000"/>
          </a:xfrm>
          <a:prstGeom prst="flowChartConnector">
            <a:avLst/>
          </a:prstGeom>
          <a:solidFill>
            <a:srgbClr val="FFFFFF"/>
          </a:solidFill>
          <a:ln w="22225">
            <a:gradFill>
              <a:gsLst>
                <a:gs pos="0">
                  <a:srgbClr val="FF4B4B"/>
                </a:gs>
                <a:gs pos="100000">
                  <a:srgbClr val="FF744F"/>
                </a:gs>
              </a:gsLst>
              <a:lin ang="18900000" scaled="0"/>
            </a:gradFill>
          </a:ln>
          <a:effectLst>
            <a:outerShdw blurRad="63500" algn="ctr"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432000" rIns="0" bIns="72000" rtlCol="0" anchor="t" anchorCtr="0">
            <a:noAutofit/>
          </a:bodyPr>
          <a:lstStyle>
            <a:lvl1pPr>
              <a:defRPr kumimoji="0" lang="en-US" sz="3200" b="1"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marR="0" lvl="0" algn="ctr" defTabSz="914330" fontAlgn="auto">
              <a:lnSpc>
                <a:spcPct val="130000"/>
              </a:lnSpc>
              <a:spcBef>
                <a:spcPts val="1000"/>
              </a:spcBef>
              <a:spcAft>
                <a:spcPts val="0"/>
              </a:spcAft>
              <a:buClrTx/>
              <a:buSzTx/>
              <a:buFontTx/>
              <a:tabLst/>
            </a:pPr>
            <a:r>
              <a:rPr lang="en-US" dirty="0"/>
              <a:t>x</a:t>
            </a:r>
          </a:p>
        </p:txBody>
      </p:sp>
      <p:sp>
        <p:nvSpPr>
          <p:cNvPr id="12" name="link 3">
            <a:extLst>
              <a:ext uri="{FF2B5EF4-FFF2-40B4-BE49-F238E27FC236}">
                <a16:creationId xmlns:a16="http://schemas.microsoft.com/office/drawing/2014/main" id="{BDB0D890-3BF6-1C16-51D6-B127384D7790}"/>
              </a:ext>
            </a:extLst>
          </p:cNvPr>
          <p:cNvSpPr>
            <a:spLocks noGrp="1"/>
          </p:cNvSpPr>
          <p:nvPr>
            <p:ph sz="quarter" idx="33" hasCustomPrompt="1"/>
          </p:nvPr>
        </p:nvSpPr>
        <p:spPr>
          <a:xfrm>
            <a:off x="5007750" y="5805850"/>
            <a:ext cx="1429137" cy="359999"/>
          </a:xfrm>
          <a:prstGeom prst="roundRect">
            <a:avLst>
              <a:gd name="adj" fmla="val 50000"/>
            </a:avLst>
          </a:prstGeom>
          <a:gradFill>
            <a:gsLst>
              <a:gs pos="0">
                <a:srgbClr val="FF4B4B"/>
              </a:gs>
              <a:gs pos="100000">
                <a:srgbClr val="FF744F"/>
              </a:gs>
            </a:gsLst>
            <a:lin ang="18900000" scaled="0"/>
          </a:gradFill>
        </p:spPr>
        <p:txBody>
          <a:bodyPr vert="horz" lIns="108000" tIns="0" rIns="108000" bIns="36000" rtlCol="0" anchor="ctr">
            <a:noAutofit/>
          </a:bodyPr>
          <a:lstStyle>
            <a:lvl1pPr>
              <a:defRPr lang="en-DE" sz="1100" cap="all" spc="40" dirty="0">
                <a:solidFill>
                  <a:schemeClr val="bg1"/>
                </a:solidFill>
                <a:latin typeface="Segoe UI Semibold" panose="020B0702040204020203" pitchFamily="34" charset="0"/>
                <a:cs typeface="Segoe UI Semibold" panose="020B0702040204020203" pitchFamily="34" charset="0"/>
              </a:defRPr>
            </a:lvl1pPr>
          </a:lstStyle>
          <a:p>
            <a:pPr lvl="0" algn="ctr"/>
            <a:r>
              <a:rPr lang="de-DE" dirty="0"/>
              <a:t>TEXT</a:t>
            </a:r>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5007750" y="4005850"/>
            <a:ext cx="2160000" cy="216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22" name="text circle">
            <a:extLst>
              <a:ext uri="{FF2B5EF4-FFF2-40B4-BE49-F238E27FC236}">
                <a16:creationId xmlns:a16="http://schemas.microsoft.com/office/drawing/2014/main" id="{31A0DEB0-F29F-1B24-2604-AC3A4FE8A667}"/>
              </a:ext>
            </a:extLst>
          </p:cNvPr>
          <p:cNvSpPr>
            <a:spLocks noGrp="1"/>
          </p:cNvSpPr>
          <p:nvPr>
            <p:ph type="body" idx="28" hasCustomPrompt="1"/>
          </p:nvPr>
        </p:nvSpPr>
        <p:spPr>
          <a:xfrm>
            <a:off x="5011371" y="2131962"/>
            <a:ext cx="1260000" cy="1260000"/>
          </a:xfrm>
          <a:prstGeom prst="flowChartConnector">
            <a:avLst/>
          </a:prstGeom>
          <a:solidFill>
            <a:srgbClr val="FFFFFF"/>
          </a:solidFill>
          <a:ln w="22225">
            <a:gradFill>
              <a:gsLst>
                <a:gs pos="0">
                  <a:srgbClr val="FF4B4B"/>
                </a:gs>
                <a:gs pos="100000">
                  <a:srgbClr val="FF744F"/>
                </a:gs>
              </a:gsLst>
              <a:lin ang="18900000" scaled="0"/>
            </a:gradFill>
          </a:ln>
          <a:effectLst>
            <a:outerShdw blurRad="63500" algn="ctr"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432000" rIns="0" bIns="72000" rtlCol="0" anchor="t" anchorCtr="0">
            <a:noAutofit/>
          </a:bodyPr>
          <a:lstStyle>
            <a:lvl1pPr>
              <a:defRPr kumimoji="0" lang="en-US" sz="3200" b="1"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marR="0" lvl="0" algn="ctr" defTabSz="914330" fontAlgn="auto">
              <a:lnSpc>
                <a:spcPct val="130000"/>
              </a:lnSpc>
              <a:spcBef>
                <a:spcPts val="1000"/>
              </a:spcBef>
              <a:spcAft>
                <a:spcPts val="0"/>
              </a:spcAft>
              <a:buClrTx/>
              <a:buSzTx/>
              <a:buFontTx/>
              <a:tabLst/>
            </a:pPr>
            <a:r>
              <a:rPr lang="en-US" dirty="0"/>
              <a:t>x</a:t>
            </a:r>
          </a:p>
        </p:txBody>
      </p:sp>
      <p:sp>
        <p:nvSpPr>
          <p:cNvPr id="11" name="link 2">
            <a:extLst>
              <a:ext uri="{FF2B5EF4-FFF2-40B4-BE49-F238E27FC236}">
                <a16:creationId xmlns:a16="http://schemas.microsoft.com/office/drawing/2014/main" id="{6C0963AF-8708-D983-7A69-D5B5858279B8}"/>
              </a:ext>
            </a:extLst>
          </p:cNvPr>
          <p:cNvSpPr>
            <a:spLocks noGrp="1"/>
          </p:cNvSpPr>
          <p:nvPr>
            <p:ph sz="quarter" idx="32" hasCustomPrompt="1"/>
          </p:nvPr>
        </p:nvSpPr>
        <p:spPr>
          <a:xfrm>
            <a:off x="2773875" y="5805850"/>
            <a:ext cx="1429137" cy="359999"/>
          </a:xfrm>
          <a:prstGeom prst="roundRect">
            <a:avLst>
              <a:gd name="adj" fmla="val 50000"/>
            </a:avLst>
          </a:prstGeom>
          <a:gradFill>
            <a:gsLst>
              <a:gs pos="0">
                <a:srgbClr val="FF4B4B"/>
              </a:gs>
              <a:gs pos="100000">
                <a:srgbClr val="FF744F"/>
              </a:gs>
            </a:gsLst>
            <a:lin ang="18900000" scaled="0"/>
          </a:gradFill>
        </p:spPr>
        <p:txBody>
          <a:bodyPr vert="horz" lIns="108000" tIns="0" rIns="108000" bIns="36000" rtlCol="0" anchor="ctr">
            <a:noAutofit/>
          </a:bodyPr>
          <a:lstStyle>
            <a:lvl1pPr>
              <a:defRPr lang="en-DE" sz="1100" cap="all" spc="40" dirty="0">
                <a:solidFill>
                  <a:schemeClr val="bg1"/>
                </a:solidFill>
                <a:latin typeface="Segoe UI Semibold" panose="020B0702040204020203" pitchFamily="34" charset="0"/>
                <a:cs typeface="Segoe UI Semibold" panose="020B0702040204020203" pitchFamily="34" charset="0"/>
              </a:defRPr>
            </a:lvl1pPr>
          </a:lstStyle>
          <a:p>
            <a:pPr lvl="0" algn="ctr"/>
            <a:r>
              <a:rPr lang="de-DE" dirty="0"/>
              <a:t>TEXT</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2773875" y="4005850"/>
            <a:ext cx="2160000" cy="216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21" name="text circle">
            <a:extLst>
              <a:ext uri="{FF2B5EF4-FFF2-40B4-BE49-F238E27FC236}">
                <a16:creationId xmlns:a16="http://schemas.microsoft.com/office/drawing/2014/main" id="{E35B51C2-1268-8F36-C4B9-7E08FC0E57B3}"/>
              </a:ext>
            </a:extLst>
          </p:cNvPr>
          <p:cNvSpPr>
            <a:spLocks noGrp="1"/>
          </p:cNvSpPr>
          <p:nvPr>
            <p:ph type="body" idx="27" hasCustomPrompt="1"/>
          </p:nvPr>
        </p:nvSpPr>
        <p:spPr>
          <a:xfrm>
            <a:off x="2781117" y="2131962"/>
            <a:ext cx="1260000" cy="1260000"/>
          </a:xfrm>
          <a:prstGeom prst="flowChartConnector">
            <a:avLst/>
          </a:prstGeom>
          <a:solidFill>
            <a:srgbClr val="FFFFFF"/>
          </a:solidFill>
          <a:ln w="22225">
            <a:gradFill>
              <a:gsLst>
                <a:gs pos="0">
                  <a:srgbClr val="FF4B4B"/>
                </a:gs>
                <a:gs pos="100000">
                  <a:srgbClr val="FF744F"/>
                </a:gs>
              </a:gsLst>
              <a:lin ang="18900000" scaled="0"/>
            </a:gradFill>
          </a:ln>
          <a:effectLst>
            <a:outerShdw blurRad="63500" algn="ctr"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432000" rIns="0" bIns="72000" rtlCol="0" anchor="t" anchorCtr="0">
            <a:noAutofit/>
          </a:bodyPr>
          <a:lstStyle>
            <a:lvl1pPr>
              <a:defRPr kumimoji="0" lang="en-US" sz="3200" b="1"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marR="0" lvl="0" algn="ctr" defTabSz="914330" fontAlgn="auto">
              <a:lnSpc>
                <a:spcPct val="130000"/>
              </a:lnSpc>
              <a:spcBef>
                <a:spcPts val="1000"/>
              </a:spcBef>
              <a:spcAft>
                <a:spcPts val="0"/>
              </a:spcAft>
              <a:buClrTx/>
              <a:buSzTx/>
              <a:buFontTx/>
              <a:tabLst/>
            </a:pPr>
            <a:r>
              <a:rPr lang="en-US" dirty="0"/>
              <a:t>x</a:t>
            </a:r>
          </a:p>
        </p:txBody>
      </p:sp>
      <p:sp>
        <p:nvSpPr>
          <p:cNvPr id="8" name="link 1">
            <a:extLst>
              <a:ext uri="{FF2B5EF4-FFF2-40B4-BE49-F238E27FC236}">
                <a16:creationId xmlns:a16="http://schemas.microsoft.com/office/drawing/2014/main" id="{BC9F6CD8-81FC-4112-0CC1-9B9495F2D3F3}"/>
              </a:ext>
            </a:extLst>
          </p:cNvPr>
          <p:cNvSpPr>
            <a:spLocks noGrp="1"/>
          </p:cNvSpPr>
          <p:nvPr>
            <p:ph sz="quarter" idx="31" hasCustomPrompt="1"/>
          </p:nvPr>
        </p:nvSpPr>
        <p:spPr>
          <a:xfrm>
            <a:off x="538365" y="5805849"/>
            <a:ext cx="1429137" cy="359999"/>
          </a:xfrm>
          <a:prstGeom prst="roundRect">
            <a:avLst>
              <a:gd name="adj" fmla="val 50000"/>
            </a:avLst>
          </a:prstGeom>
          <a:gradFill>
            <a:gsLst>
              <a:gs pos="0">
                <a:srgbClr val="FF4B4B"/>
              </a:gs>
              <a:gs pos="100000">
                <a:srgbClr val="FF744F"/>
              </a:gs>
            </a:gsLst>
            <a:lin ang="18900000" scaled="0"/>
          </a:gradFill>
        </p:spPr>
        <p:txBody>
          <a:bodyPr vert="horz" lIns="108000" tIns="0" rIns="108000" bIns="36000" rtlCol="0" anchor="ctr">
            <a:noAutofit/>
          </a:bodyPr>
          <a:lstStyle>
            <a:lvl1pPr>
              <a:defRPr lang="en-DE" sz="1100" cap="all" spc="40" dirty="0">
                <a:solidFill>
                  <a:schemeClr val="bg1"/>
                </a:solidFill>
                <a:latin typeface="Segoe UI Semibold" panose="020B0702040204020203" pitchFamily="34" charset="0"/>
                <a:cs typeface="Segoe UI Semibold" panose="020B0702040204020203" pitchFamily="34" charset="0"/>
              </a:defRPr>
            </a:lvl1pPr>
          </a:lstStyle>
          <a:p>
            <a:pPr lvl="0" algn="ctr"/>
            <a:r>
              <a:rPr lang="de-DE" dirty="0"/>
              <a:t>Text</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4005850"/>
            <a:ext cx="2160000" cy="216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20" name="text circle">
            <a:extLst>
              <a:ext uri="{FF2B5EF4-FFF2-40B4-BE49-F238E27FC236}">
                <a16:creationId xmlns:a16="http://schemas.microsoft.com/office/drawing/2014/main" id="{73670A57-F5B2-BA34-5084-3C22ED17AE6B}"/>
              </a:ext>
            </a:extLst>
          </p:cNvPr>
          <p:cNvSpPr>
            <a:spLocks noGrp="1"/>
          </p:cNvSpPr>
          <p:nvPr>
            <p:ph type="body" idx="1" hasCustomPrompt="1"/>
          </p:nvPr>
        </p:nvSpPr>
        <p:spPr>
          <a:xfrm>
            <a:off x="550863" y="2131962"/>
            <a:ext cx="1260000" cy="1260000"/>
          </a:xfrm>
          <a:prstGeom prst="flowChartConnector">
            <a:avLst/>
          </a:prstGeom>
          <a:solidFill>
            <a:srgbClr val="FFFFFF"/>
          </a:solidFill>
          <a:ln w="22225">
            <a:gradFill>
              <a:gsLst>
                <a:gs pos="0">
                  <a:srgbClr val="FF4B4B"/>
                </a:gs>
                <a:gs pos="100000">
                  <a:srgbClr val="FF744F"/>
                </a:gs>
              </a:gsLst>
              <a:lin ang="18900000" scaled="0"/>
            </a:gradFill>
          </a:ln>
          <a:effectLst>
            <a:outerShdw blurRad="63500" algn="ctr"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432000" rIns="0" bIns="72000" rtlCol="0" anchor="t" anchorCtr="0">
            <a:noAutofit/>
          </a:bodyPr>
          <a:lstStyle>
            <a:lvl1pPr>
              <a:defRPr kumimoji="0" lang="en-US" sz="3200" b="1"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marR="0" lvl="0" algn="ctr" defTabSz="914330" fontAlgn="auto">
              <a:lnSpc>
                <a:spcPct val="130000"/>
              </a:lnSpc>
              <a:spcBef>
                <a:spcPts val="1000"/>
              </a:spcBef>
              <a:spcAft>
                <a:spcPts val="0"/>
              </a:spcAft>
              <a:buClrTx/>
              <a:buSzTx/>
              <a:buFontTx/>
              <a:tabLst/>
            </a:pPr>
            <a:r>
              <a:rPr lang="en-US" dirty="0"/>
              <a:t>x</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9" name="navigation">
            <a:extLst>
              <a:ext uri="{FF2B5EF4-FFF2-40B4-BE49-F238E27FC236}">
                <a16:creationId xmlns:a16="http://schemas.microsoft.com/office/drawing/2014/main" id="{EED496C5-9EA2-8D08-B2D5-EF1155F63A7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1060101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  029 : 5 circles : 5 texts">
    <p:spTree>
      <p:nvGrpSpPr>
        <p:cNvPr id="1" name=""/>
        <p:cNvGrpSpPr/>
        <p:nvPr/>
      </p:nvGrpSpPr>
      <p:grpSpPr>
        <a:xfrm>
          <a:off x="0" y="0"/>
          <a:ext cx="0" cy="0"/>
          <a:chOff x="0" y="0"/>
          <a:chExt cx="0" cy="0"/>
        </a:xfrm>
      </p:grpSpPr>
      <p:sp>
        <p:nvSpPr>
          <p:cNvPr id="3" name="slide number">
            <a:extLst>
              <a:ext uri="{FF2B5EF4-FFF2-40B4-BE49-F238E27FC236}">
                <a16:creationId xmlns:a16="http://schemas.microsoft.com/office/drawing/2014/main" id="{2547E716-1E2F-7B05-A5D1-24DF5138F703}"/>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8" name="footer">
            <a:extLst>
              <a:ext uri="{FF2B5EF4-FFF2-40B4-BE49-F238E27FC236}">
                <a16:creationId xmlns:a16="http://schemas.microsoft.com/office/drawing/2014/main" id="{D123DC91-7626-7AF2-A09B-DCBEE2B68960}"/>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0" name="date">
            <a:extLst>
              <a:ext uri="{FF2B5EF4-FFF2-40B4-BE49-F238E27FC236}">
                <a16:creationId xmlns:a16="http://schemas.microsoft.com/office/drawing/2014/main" id="{4B0EC5C0-E138-9864-2A63-A77E96EF6632}"/>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 name="text 6">
            <a:extLst>
              <a:ext uri="{FF2B5EF4-FFF2-40B4-BE49-F238E27FC236}">
                <a16:creationId xmlns:a16="http://schemas.microsoft.com/office/drawing/2014/main" id="{AFFFB742-B10B-0D15-44C8-E99A247A6623}"/>
              </a:ext>
            </a:extLst>
          </p:cNvPr>
          <p:cNvSpPr>
            <a:spLocks noGrp="1"/>
          </p:cNvSpPr>
          <p:nvPr>
            <p:ph type="body" idx="1"/>
          </p:nvPr>
        </p:nvSpPr>
        <p:spPr>
          <a:xfrm>
            <a:off x="1044000" y="1476000"/>
            <a:ext cx="10080000" cy="1440000"/>
          </a:xfrm>
          <a:prstGeom prst="roundRect">
            <a:avLst>
              <a:gd name="adj" fmla="val 50000"/>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lIns="0" tIns="144000" rIns="0" bIns="0" rtlCol="0" anchor="t" anchorCtr="1">
            <a:noAutofit/>
          </a:bodyPr>
          <a:lstStyle>
            <a:lvl1pPr>
              <a:defRPr lang="en-US" sz="1800" dirty="0">
                <a:solidFill>
                  <a:schemeClr val="bg1"/>
                </a:solidFill>
                <a:latin typeface="+mj-lt"/>
              </a:defRPr>
            </a:lvl1pPr>
          </a:lstStyle>
          <a:p>
            <a:pPr lvl="0" algn="ctr"/>
            <a:r>
              <a:rPr lang="de-DE"/>
              <a:t>Mastertextformat bearbeiten</a:t>
            </a:r>
          </a:p>
        </p:txBody>
      </p:sp>
      <p:sp>
        <p:nvSpPr>
          <p:cNvPr id="20" name="text 5">
            <a:extLst>
              <a:ext uri="{FF2B5EF4-FFF2-40B4-BE49-F238E27FC236}">
                <a16:creationId xmlns:a16="http://schemas.microsoft.com/office/drawing/2014/main" id="{490285F5-769C-25E4-69C8-C5E988F71DD4}"/>
              </a:ext>
            </a:extLst>
          </p:cNvPr>
          <p:cNvSpPr>
            <a:spLocks noGrp="1"/>
          </p:cNvSpPr>
          <p:nvPr>
            <p:ph type="body" sz="quarter" idx="40"/>
          </p:nvPr>
        </p:nvSpPr>
        <p:spPr>
          <a:xfrm>
            <a:off x="8652600" y="4089400"/>
            <a:ext cx="1440000" cy="2088000"/>
          </a:xfrm>
          <a:prstGeom prst="roundRect">
            <a:avLst>
              <a:gd name="adj" fmla="val 2115"/>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29" name="text circle 5">
            <a:extLst>
              <a:ext uri="{FF2B5EF4-FFF2-40B4-BE49-F238E27FC236}">
                <a16:creationId xmlns:a16="http://schemas.microsoft.com/office/drawing/2014/main" id="{CA3D1B8F-67FE-C968-DC81-8D84990DEA68}"/>
              </a:ext>
            </a:extLst>
          </p:cNvPr>
          <p:cNvSpPr>
            <a:spLocks noGrp="1"/>
          </p:cNvSpPr>
          <p:nvPr>
            <p:ph type="body" idx="50"/>
          </p:nvPr>
        </p:nvSpPr>
        <p:spPr>
          <a:xfrm>
            <a:off x="8411943" y="2165187"/>
            <a:ext cx="1800000" cy="180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lgn="ct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Mastertextformat bearbeiten</a:t>
            </a:r>
          </a:p>
        </p:txBody>
      </p:sp>
      <p:sp>
        <p:nvSpPr>
          <p:cNvPr id="38" name="text 4">
            <a:extLst>
              <a:ext uri="{FF2B5EF4-FFF2-40B4-BE49-F238E27FC236}">
                <a16:creationId xmlns:a16="http://schemas.microsoft.com/office/drawing/2014/main" id="{766A6541-969C-FB7D-0491-0D3E07636CF8}"/>
              </a:ext>
            </a:extLst>
          </p:cNvPr>
          <p:cNvSpPr>
            <a:spLocks noGrp="1"/>
          </p:cNvSpPr>
          <p:nvPr>
            <p:ph type="body" sz="quarter" idx="35"/>
          </p:nvPr>
        </p:nvSpPr>
        <p:spPr>
          <a:xfrm>
            <a:off x="7014300" y="4089400"/>
            <a:ext cx="1440000" cy="2088000"/>
          </a:xfrm>
          <a:prstGeom prst="roundRect">
            <a:avLst>
              <a:gd name="adj" fmla="val 2115"/>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28" name="text circle 4">
            <a:extLst>
              <a:ext uri="{FF2B5EF4-FFF2-40B4-BE49-F238E27FC236}">
                <a16:creationId xmlns:a16="http://schemas.microsoft.com/office/drawing/2014/main" id="{7CEECBFC-F2D4-D868-B591-E190AF18578E}"/>
              </a:ext>
            </a:extLst>
          </p:cNvPr>
          <p:cNvSpPr>
            <a:spLocks noGrp="1"/>
          </p:cNvSpPr>
          <p:nvPr>
            <p:ph type="body" idx="49"/>
          </p:nvPr>
        </p:nvSpPr>
        <p:spPr>
          <a:xfrm>
            <a:off x="6737182" y="2165187"/>
            <a:ext cx="1800000" cy="180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lgn="ct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Mastertextformat bearbeiten</a:t>
            </a:r>
          </a:p>
        </p:txBody>
      </p:sp>
      <p:sp>
        <p:nvSpPr>
          <p:cNvPr id="37" name="text 3">
            <a:extLst>
              <a:ext uri="{FF2B5EF4-FFF2-40B4-BE49-F238E27FC236}">
                <a16:creationId xmlns:a16="http://schemas.microsoft.com/office/drawing/2014/main" id="{4C7A74BA-677D-44AF-0C2A-FDAE4A7E8131}"/>
              </a:ext>
            </a:extLst>
          </p:cNvPr>
          <p:cNvSpPr>
            <a:spLocks noGrp="1"/>
          </p:cNvSpPr>
          <p:nvPr>
            <p:ph type="body" sz="quarter" idx="34"/>
          </p:nvPr>
        </p:nvSpPr>
        <p:spPr>
          <a:xfrm>
            <a:off x="5364000" y="4089400"/>
            <a:ext cx="1440000" cy="2088000"/>
          </a:xfrm>
          <a:prstGeom prst="roundRect">
            <a:avLst>
              <a:gd name="adj" fmla="val 2115"/>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27" name="text circle 3">
            <a:extLst>
              <a:ext uri="{FF2B5EF4-FFF2-40B4-BE49-F238E27FC236}">
                <a16:creationId xmlns:a16="http://schemas.microsoft.com/office/drawing/2014/main" id="{DDB5B333-AC00-BC75-0498-87B7E32D06AA}"/>
              </a:ext>
            </a:extLst>
          </p:cNvPr>
          <p:cNvSpPr>
            <a:spLocks noGrp="1"/>
          </p:cNvSpPr>
          <p:nvPr>
            <p:ph type="body" idx="48"/>
          </p:nvPr>
        </p:nvSpPr>
        <p:spPr>
          <a:xfrm>
            <a:off x="5200088" y="2165187"/>
            <a:ext cx="1800000" cy="180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lgn="ct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Mastertextformat bearbeiten</a:t>
            </a:r>
          </a:p>
        </p:txBody>
      </p:sp>
      <p:sp>
        <p:nvSpPr>
          <p:cNvPr id="36" name="text 2">
            <a:extLst>
              <a:ext uri="{FF2B5EF4-FFF2-40B4-BE49-F238E27FC236}">
                <a16:creationId xmlns:a16="http://schemas.microsoft.com/office/drawing/2014/main" id="{D45F2037-8D7A-7190-BD39-9CDAA2471126}"/>
              </a:ext>
            </a:extLst>
          </p:cNvPr>
          <p:cNvSpPr>
            <a:spLocks noGrp="1"/>
          </p:cNvSpPr>
          <p:nvPr>
            <p:ph type="body" sz="quarter" idx="33"/>
          </p:nvPr>
        </p:nvSpPr>
        <p:spPr>
          <a:xfrm>
            <a:off x="3737700" y="4089400"/>
            <a:ext cx="1440000" cy="2088000"/>
          </a:xfrm>
          <a:prstGeom prst="roundRect">
            <a:avLst>
              <a:gd name="adj" fmla="val 2115"/>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26" name="text circle 2">
            <a:extLst>
              <a:ext uri="{FF2B5EF4-FFF2-40B4-BE49-F238E27FC236}">
                <a16:creationId xmlns:a16="http://schemas.microsoft.com/office/drawing/2014/main" id="{7CBFAABC-429B-E5B8-8933-E07DCC4B26EA}"/>
              </a:ext>
            </a:extLst>
          </p:cNvPr>
          <p:cNvSpPr>
            <a:spLocks noGrp="1"/>
          </p:cNvSpPr>
          <p:nvPr>
            <p:ph type="body" idx="47"/>
          </p:nvPr>
        </p:nvSpPr>
        <p:spPr>
          <a:xfrm>
            <a:off x="3525327" y="2165187"/>
            <a:ext cx="1800000" cy="180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lgn="ct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Mastertextformat bearbeiten</a:t>
            </a:r>
          </a:p>
        </p:txBody>
      </p:sp>
      <p:sp>
        <p:nvSpPr>
          <p:cNvPr id="35" name="text 1">
            <a:extLst>
              <a:ext uri="{FF2B5EF4-FFF2-40B4-BE49-F238E27FC236}">
                <a16:creationId xmlns:a16="http://schemas.microsoft.com/office/drawing/2014/main" id="{927C191B-A08F-85D5-D2F2-99828DB99C61}"/>
              </a:ext>
            </a:extLst>
          </p:cNvPr>
          <p:cNvSpPr>
            <a:spLocks noGrp="1"/>
          </p:cNvSpPr>
          <p:nvPr>
            <p:ph type="body" sz="quarter" idx="29"/>
          </p:nvPr>
        </p:nvSpPr>
        <p:spPr>
          <a:xfrm>
            <a:off x="2099400" y="4089400"/>
            <a:ext cx="1440000" cy="2088000"/>
          </a:xfrm>
          <a:prstGeom prst="roundRect">
            <a:avLst>
              <a:gd name="adj" fmla="val 2115"/>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19" name="text circle 1">
            <a:extLst>
              <a:ext uri="{FF2B5EF4-FFF2-40B4-BE49-F238E27FC236}">
                <a16:creationId xmlns:a16="http://schemas.microsoft.com/office/drawing/2014/main" id="{199577DA-8B05-55BA-D6BD-A9F30591F4E5}"/>
              </a:ext>
            </a:extLst>
          </p:cNvPr>
          <p:cNvSpPr>
            <a:spLocks noGrp="1"/>
          </p:cNvSpPr>
          <p:nvPr>
            <p:ph type="body" idx="46"/>
          </p:nvPr>
        </p:nvSpPr>
        <p:spPr>
          <a:xfrm>
            <a:off x="1919400" y="2165187"/>
            <a:ext cx="1800000" cy="180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lgn="ct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Mastertextformat bearbeiten</a:t>
            </a:r>
          </a:p>
        </p:txBody>
      </p:sp>
      <p:sp>
        <p:nvSpPr>
          <p:cNvPr id="5" name="title">
            <a:extLst>
              <a:ext uri="{FF2B5EF4-FFF2-40B4-BE49-F238E27FC236}">
                <a16:creationId xmlns:a16="http://schemas.microsoft.com/office/drawing/2014/main" id="{A40CDE67-43E3-2705-8865-2677F3CF4561}"/>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31" name="navigation">
            <a:extLst>
              <a:ext uri="{FF2B5EF4-FFF2-40B4-BE49-F238E27FC236}">
                <a16:creationId xmlns:a16="http://schemas.microsoft.com/office/drawing/2014/main" id="{B3E5848C-38B7-C489-C91D-BB9E809479F6}"/>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40397464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  002a : 2 contents">
    <p:spTree>
      <p:nvGrpSpPr>
        <p:cNvPr id="1" name=""/>
        <p:cNvGrpSpPr/>
        <p:nvPr/>
      </p:nvGrpSpPr>
      <p:grpSpPr>
        <a:xfrm>
          <a:off x="0" y="0"/>
          <a:ext cx="0" cy="0"/>
          <a:chOff x="0" y="0"/>
          <a:chExt cx="0" cy="0"/>
        </a:xfrm>
      </p:grpSpPr>
      <p:sp>
        <p:nvSpPr>
          <p:cNvPr id="11" name="slide number">
            <a:extLst>
              <a:ext uri="{FF2B5EF4-FFF2-40B4-BE49-F238E27FC236}">
                <a16:creationId xmlns:a16="http://schemas.microsoft.com/office/drawing/2014/main" id="{BC8BA2C0-FF86-7160-B605-4AFD8142AAA5}"/>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268B1DC0-E2F4-964B-BEBC-F781A34B417B}"/>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020BFB18-B358-A527-A325-CBA53A65BE2E}"/>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4" name="content 2">
            <a:extLst>
              <a:ext uri="{FF2B5EF4-FFF2-40B4-BE49-F238E27FC236}">
                <a16:creationId xmlns:a16="http://schemas.microsoft.com/office/drawing/2014/main" id="{0F189F99-D754-4356-5E4B-0F553CC9C353}"/>
              </a:ext>
            </a:extLst>
          </p:cNvPr>
          <p:cNvSpPr>
            <a:spLocks noGrp="1"/>
          </p:cNvSpPr>
          <p:nvPr>
            <p:ph sz="quarter" idx="24"/>
          </p:nvPr>
        </p:nvSpPr>
        <p:spPr>
          <a:xfrm>
            <a:off x="8218863" y="1475999"/>
            <a:ext cx="3420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39998" y="1475999"/>
            <a:ext cx="7560000" cy="4680000"/>
          </a:xfrm>
          <a:prstGeom prst="rect">
            <a:avLst/>
          </a:prstGeom>
          <a:noFill/>
        </p:spPr>
        <p:txBody>
          <a:bodyPr vert="horz" lIns="0" tIns="0" rIns="0" bIns="0" rtlCol="0">
            <a:noAutofit/>
          </a:bodyPr>
          <a:lstStyle>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5" name="navigation">
            <a:extLst>
              <a:ext uri="{FF2B5EF4-FFF2-40B4-BE49-F238E27FC236}">
                <a16:creationId xmlns:a16="http://schemas.microsoft.com/office/drawing/2014/main" id="{151C2032-2FFD-81F1-32B0-C2E2F77BD519}"/>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6242137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  030 : citiation : 5 Icons : 5 contents">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48C3DE89-47DA-5C90-A5BD-987089A0B45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21" name="footer">
            <a:extLst>
              <a:ext uri="{FF2B5EF4-FFF2-40B4-BE49-F238E27FC236}">
                <a16:creationId xmlns:a16="http://schemas.microsoft.com/office/drawing/2014/main" id="{0F951A03-A258-5D0C-346C-9EDFA0422BAC}"/>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22" name="date">
            <a:extLst>
              <a:ext uri="{FF2B5EF4-FFF2-40B4-BE49-F238E27FC236}">
                <a16:creationId xmlns:a16="http://schemas.microsoft.com/office/drawing/2014/main" id="{3BDB30AE-0771-9262-1869-36B5E00FEB8A}"/>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6" name="content 6">
            <a:extLst>
              <a:ext uri="{FF2B5EF4-FFF2-40B4-BE49-F238E27FC236}">
                <a16:creationId xmlns:a16="http://schemas.microsoft.com/office/drawing/2014/main" id="{89C522B1-6801-8B41-4F5D-6C85B8AEBCC7}"/>
              </a:ext>
            </a:extLst>
          </p:cNvPr>
          <p:cNvSpPr>
            <a:spLocks noGrp="1"/>
          </p:cNvSpPr>
          <p:nvPr>
            <p:ph sz="quarter" idx="25"/>
          </p:nvPr>
        </p:nvSpPr>
        <p:spPr>
          <a:xfrm>
            <a:off x="8218863" y="4536000"/>
            <a:ext cx="3420000" cy="1656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8" name="Icon 6">
            <a:extLst>
              <a:ext uri="{FF2B5EF4-FFF2-40B4-BE49-F238E27FC236}">
                <a16:creationId xmlns:a16="http://schemas.microsoft.com/office/drawing/2014/main" id="{49D83825-0292-3B29-C602-F353CE1D6DDF}"/>
              </a:ext>
            </a:extLst>
          </p:cNvPr>
          <p:cNvSpPr>
            <a:spLocks noGrp="1"/>
          </p:cNvSpPr>
          <p:nvPr>
            <p:ph sz="quarter" idx="30"/>
          </p:nvPr>
        </p:nvSpPr>
        <p:spPr>
          <a:xfrm>
            <a:off x="8218863" y="3924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0" name="content 5">
            <a:extLst>
              <a:ext uri="{FF2B5EF4-FFF2-40B4-BE49-F238E27FC236}">
                <a16:creationId xmlns:a16="http://schemas.microsoft.com/office/drawing/2014/main" id="{38904F9D-F12D-C1A2-7570-9DC56D6DD698}"/>
              </a:ext>
            </a:extLst>
          </p:cNvPr>
          <p:cNvSpPr>
            <a:spLocks noGrp="1"/>
          </p:cNvSpPr>
          <p:nvPr>
            <p:ph sz="quarter" idx="26"/>
          </p:nvPr>
        </p:nvSpPr>
        <p:spPr>
          <a:xfrm>
            <a:off x="4379432" y="4536000"/>
            <a:ext cx="3420000" cy="1656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noProof="0"/>
              <a:t>Mastertextformat bearbeiten</a:t>
            </a:r>
          </a:p>
        </p:txBody>
      </p:sp>
      <p:sp>
        <p:nvSpPr>
          <p:cNvPr id="19" name="Icon 5">
            <a:extLst>
              <a:ext uri="{FF2B5EF4-FFF2-40B4-BE49-F238E27FC236}">
                <a16:creationId xmlns:a16="http://schemas.microsoft.com/office/drawing/2014/main" id="{8733BC2E-04A1-0E30-9605-EAFAC19E888D}"/>
              </a:ext>
            </a:extLst>
          </p:cNvPr>
          <p:cNvSpPr>
            <a:spLocks noGrp="1"/>
          </p:cNvSpPr>
          <p:nvPr>
            <p:ph sz="quarter" idx="31"/>
          </p:nvPr>
        </p:nvSpPr>
        <p:spPr>
          <a:xfrm>
            <a:off x="4379432" y="3924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1" name="content 4">
            <a:extLst>
              <a:ext uri="{FF2B5EF4-FFF2-40B4-BE49-F238E27FC236}">
                <a16:creationId xmlns:a16="http://schemas.microsoft.com/office/drawing/2014/main" id="{16D0781B-9A31-08E8-DACA-4F56FD0EAC1F}"/>
              </a:ext>
            </a:extLst>
          </p:cNvPr>
          <p:cNvSpPr>
            <a:spLocks noGrp="1"/>
          </p:cNvSpPr>
          <p:nvPr>
            <p:ph sz="quarter" idx="27"/>
          </p:nvPr>
        </p:nvSpPr>
        <p:spPr>
          <a:xfrm>
            <a:off x="540000" y="4536000"/>
            <a:ext cx="3420000" cy="1656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20" name="Icon 4">
            <a:extLst>
              <a:ext uri="{FF2B5EF4-FFF2-40B4-BE49-F238E27FC236}">
                <a16:creationId xmlns:a16="http://schemas.microsoft.com/office/drawing/2014/main" id="{454BDB5F-930C-C204-3745-6B675B0D1FED}"/>
              </a:ext>
            </a:extLst>
          </p:cNvPr>
          <p:cNvSpPr>
            <a:spLocks noGrp="1"/>
          </p:cNvSpPr>
          <p:nvPr>
            <p:ph sz="quarter" idx="32"/>
          </p:nvPr>
        </p:nvSpPr>
        <p:spPr>
          <a:xfrm>
            <a:off x="540000" y="3924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8218863" y="2088000"/>
            <a:ext cx="3420000" cy="1656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6" name="Icon 3">
            <a:extLst>
              <a:ext uri="{FF2B5EF4-FFF2-40B4-BE49-F238E27FC236}">
                <a16:creationId xmlns:a16="http://schemas.microsoft.com/office/drawing/2014/main" id="{778D2EDF-3B43-FFAE-82A8-D32823740850}"/>
              </a:ext>
            </a:extLst>
          </p:cNvPr>
          <p:cNvSpPr>
            <a:spLocks noGrp="1"/>
          </p:cNvSpPr>
          <p:nvPr>
            <p:ph sz="quarter" idx="29"/>
          </p:nvPr>
        </p:nvSpPr>
        <p:spPr>
          <a:xfrm>
            <a:off x="8218863" y="1476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4379432" y="2088000"/>
            <a:ext cx="3420000" cy="1656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noProof="0"/>
              <a:t>Mastertextformat bearbeiten</a:t>
            </a:r>
          </a:p>
        </p:txBody>
      </p:sp>
      <p:sp>
        <p:nvSpPr>
          <p:cNvPr id="12" name="Icon 2">
            <a:extLst>
              <a:ext uri="{FF2B5EF4-FFF2-40B4-BE49-F238E27FC236}">
                <a16:creationId xmlns:a16="http://schemas.microsoft.com/office/drawing/2014/main" id="{233BAFF2-9C91-CD91-2A3C-35502D80CD15}"/>
              </a:ext>
            </a:extLst>
          </p:cNvPr>
          <p:cNvSpPr>
            <a:spLocks noGrp="1"/>
          </p:cNvSpPr>
          <p:nvPr>
            <p:ph sz="quarter" idx="28"/>
          </p:nvPr>
        </p:nvSpPr>
        <p:spPr>
          <a:xfrm>
            <a:off x="4379432" y="1476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8" name="text box">
            <a:extLst>
              <a:ext uri="{FF2B5EF4-FFF2-40B4-BE49-F238E27FC236}">
                <a16:creationId xmlns:a16="http://schemas.microsoft.com/office/drawing/2014/main" id="{550C29E5-AD0A-1A38-3A54-79902F148CC1}"/>
              </a:ext>
            </a:extLst>
          </p:cNvPr>
          <p:cNvSpPr>
            <a:spLocks noGrp="1"/>
          </p:cNvSpPr>
          <p:nvPr>
            <p:ph type="body" idx="1"/>
          </p:nvPr>
        </p:nvSpPr>
        <p:spPr>
          <a:xfrm>
            <a:off x="553136" y="1484313"/>
            <a:ext cx="3420001" cy="2251782"/>
          </a:xfrm>
          <a:prstGeom prst="roundRect">
            <a:avLst>
              <a:gd name="adj" fmla="val 1968"/>
            </a:avLst>
          </a:prstGeom>
          <a:solidFill>
            <a:schemeClr val="accent2"/>
          </a:solidFill>
          <a:effectLst/>
        </p:spPr>
        <p:txBody>
          <a:bodyPr lIns="360000" tIns="180000" rIns="360000" bIns="180000" anchor="ctr" anchorCtr="0"/>
          <a:lstStyle>
            <a:lvl1pPr marL="0" indent="0" algn="ctr">
              <a:lnSpc>
                <a:spcPct val="100000"/>
              </a:lnSpc>
              <a:spcBef>
                <a:spcPts val="0"/>
              </a:spcBef>
              <a:spcAft>
                <a:spcPts val="0"/>
              </a:spcAft>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B55024EE-ED41-23E4-D6DF-B61F42B219D3}"/>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660207394"/>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  031 : 6 Icons : 6 contents">
    <p:spTree>
      <p:nvGrpSpPr>
        <p:cNvPr id="1" name=""/>
        <p:cNvGrpSpPr/>
        <p:nvPr/>
      </p:nvGrpSpPr>
      <p:grpSpPr>
        <a:xfrm>
          <a:off x="0" y="0"/>
          <a:ext cx="0" cy="0"/>
          <a:chOff x="0" y="0"/>
          <a:chExt cx="0" cy="0"/>
        </a:xfrm>
      </p:grpSpPr>
      <p:sp>
        <p:nvSpPr>
          <p:cNvPr id="21" name="slide number">
            <a:extLst>
              <a:ext uri="{FF2B5EF4-FFF2-40B4-BE49-F238E27FC236}">
                <a16:creationId xmlns:a16="http://schemas.microsoft.com/office/drawing/2014/main" id="{A9ACF289-960C-B8A3-3AC1-922A39C9047B}"/>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22" name="footer">
            <a:extLst>
              <a:ext uri="{FF2B5EF4-FFF2-40B4-BE49-F238E27FC236}">
                <a16:creationId xmlns:a16="http://schemas.microsoft.com/office/drawing/2014/main" id="{DD39A238-34E5-2DB6-20D5-CE2C12F855A1}"/>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23" name="date">
            <a:extLst>
              <a:ext uri="{FF2B5EF4-FFF2-40B4-BE49-F238E27FC236}">
                <a16:creationId xmlns:a16="http://schemas.microsoft.com/office/drawing/2014/main" id="{C5DA8D53-50E2-9231-9FA6-A534CC5BADE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6" name="content 6">
            <a:extLst>
              <a:ext uri="{FF2B5EF4-FFF2-40B4-BE49-F238E27FC236}">
                <a16:creationId xmlns:a16="http://schemas.microsoft.com/office/drawing/2014/main" id="{89C522B1-6801-8B41-4F5D-6C85B8AEBCC7}"/>
              </a:ext>
            </a:extLst>
          </p:cNvPr>
          <p:cNvSpPr>
            <a:spLocks noGrp="1"/>
          </p:cNvSpPr>
          <p:nvPr>
            <p:ph sz="quarter" idx="25"/>
          </p:nvPr>
        </p:nvSpPr>
        <p:spPr>
          <a:xfrm>
            <a:off x="8218863" y="4536000"/>
            <a:ext cx="3420000" cy="1656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8" name="Icon 6">
            <a:extLst>
              <a:ext uri="{FF2B5EF4-FFF2-40B4-BE49-F238E27FC236}">
                <a16:creationId xmlns:a16="http://schemas.microsoft.com/office/drawing/2014/main" id="{49D83825-0292-3B29-C602-F353CE1D6DDF}"/>
              </a:ext>
            </a:extLst>
          </p:cNvPr>
          <p:cNvSpPr>
            <a:spLocks noGrp="1"/>
          </p:cNvSpPr>
          <p:nvPr>
            <p:ph sz="quarter" idx="30"/>
          </p:nvPr>
        </p:nvSpPr>
        <p:spPr>
          <a:xfrm>
            <a:off x="8218863" y="3924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0" name="content 5">
            <a:extLst>
              <a:ext uri="{FF2B5EF4-FFF2-40B4-BE49-F238E27FC236}">
                <a16:creationId xmlns:a16="http://schemas.microsoft.com/office/drawing/2014/main" id="{38904F9D-F12D-C1A2-7570-9DC56D6DD698}"/>
              </a:ext>
            </a:extLst>
          </p:cNvPr>
          <p:cNvSpPr>
            <a:spLocks noGrp="1"/>
          </p:cNvSpPr>
          <p:nvPr>
            <p:ph sz="quarter" idx="26"/>
          </p:nvPr>
        </p:nvSpPr>
        <p:spPr>
          <a:xfrm>
            <a:off x="4379432" y="4536000"/>
            <a:ext cx="3420000" cy="1656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noProof="0"/>
              <a:t>Mastertextformat bearbeiten</a:t>
            </a:r>
          </a:p>
        </p:txBody>
      </p:sp>
      <p:sp>
        <p:nvSpPr>
          <p:cNvPr id="19" name="Icon 5">
            <a:extLst>
              <a:ext uri="{FF2B5EF4-FFF2-40B4-BE49-F238E27FC236}">
                <a16:creationId xmlns:a16="http://schemas.microsoft.com/office/drawing/2014/main" id="{8733BC2E-04A1-0E30-9605-EAFAC19E888D}"/>
              </a:ext>
            </a:extLst>
          </p:cNvPr>
          <p:cNvSpPr>
            <a:spLocks noGrp="1"/>
          </p:cNvSpPr>
          <p:nvPr>
            <p:ph sz="quarter" idx="31"/>
          </p:nvPr>
        </p:nvSpPr>
        <p:spPr>
          <a:xfrm>
            <a:off x="4379432" y="3924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1" name="content 4">
            <a:extLst>
              <a:ext uri="{FF2B5EF4-FFF2-40B4-BE49-F238E27FC236}">
                <a16:creationId xmlns:a16="http://schemas.microsoft.com/office/drawing/2014/main" id="{16D0781B-9A31-08E8-DACA-4F56FD0EAC1F}"/>
              </a:ext>
            </a:extLst>
          </p:cNvPr>
          <p:cNvSpPr>
            <a:spLocks noGrp="1"/>
          </p:cNvSpPr>
          <p:nvPr>
            <p:ph sz="quarter" idx="27"/>
          </p:nvPr>
        </p:nvSpPr>
        <p:spPr>
          <a:xfrm>
            <a:off x="540000" y="4536000"/>
            <a:ext cx="3420000" cy="1656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20" name="Icon 4">
            <a:extLst>
              <a:ext uri="{FF2B5EF4-FFF2-40B4-BE49-F238E27FC236}">
                <a16:creationId xmlns:a16="http://schemas.microsoft.com/office/drawing/2014/main" id="{454BDB5F-930C-C204-3745-6B675B0D1FED}"/>
              </a:ext>
            </a:extLst>
          </p:cNvPr>
          <p:cNvSpPr>
            <a:spLocks noGrp="1"/>
          </p:cNvSpPr>
          <p:nvPr>
            <p:ph sz="quarter" idx="32"/>
          </p:nvPr>
        </p:nvSpPr>
        <p:spPr>
          <a:xfrm>
            <a:off x="540000" y="3924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8218863" y="2088000"/>
            <a:ext cx="3420000" cy="1656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6" name="Icon 3">
            <a:extLst>
              <a:ext uri="{FF2B5EF4-FFF2-40B4-BE49-F238E27FC236}">
                <a16:creationId xmlns:a16="http://schemas.microsoft.com/office/drawing/2014/main" id="{778D2EDF-3B43-FFAE-82A8-D32823740850}"/>
              </a:ext>
            </a:extLst>
          </p:cNvPr>
          <p:cNvSpPr>
            <a:spLocks noGrp="1"/>
          </p:cNvSpPr>
          <p:nvPr>
            <p:ph sz="quarter" idx="29"/>
          </p:nvPr>
        </p:nvSpPr>
        <p:spPr>
          <a:xfrm>
            <a:off x="8218863" y="1476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4379432" y="2088000"/>
            <a:ext cx="3420000" cy="1656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noProof="0"/>
              <a:t>Mastertextformat bearbeiten</a:t>
            </a:r>
          </a:p>
        </p:txBody>
      </p:sp>
      <p:sp>
        <p:nvSpPr>
          <p:cNvPr id="12" name="Icon 2">
            <a:extLst>
              <a:ext uri="{FF2B5EF4-FFF2-40B4-BE49-F238E27FC236}">
                <a16:creationId xmlns:a16="http://schemas.microsoft.com/office/drawing/2014/main" id="{233BAFF2-9C91-CD91-2A3C-35502D80CD15}"/>
              </a:ext>
            </a:extLst>
          </p:cNvPr>
          <p:cNvSpPr>
            <a:spLocks noGrp="1"/>
          </p:cNvSpPr>
          <p:nvPr>
            <p:ph sz="quarter" idx="28"/>
          </p:nvPr>
        </p:nvSpPr>
        <p:spPr>
          <a:xfrm>
            <a:off x="4379432" y="1476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2088000"/>
            <a:ext cx="3420000" cy="1656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9" name="Icon 1">
            <a:extLst>
              <a:ext uri="{FF2B5EF4-FFF2-40B4-BE49-F238E27FC236}">
                <a16:creationId xmlns:a16="http://schemas.microsoft.com/office/drawing/2014/main" id="{33EE2071-A4F9-F16E-515D-B338908F8097}"/>
              </a:ext>
            </a:extLst>
          </p:cNvPr>
          <p:cNvSpPr>
            <a:spLocks noGrp="1"/>
          </p:cNvSpPr>
          <p:nvPr>
            <p:ph sz="quarter" idx="23"/>
          </p:nvPr>
        </p:nvSpPr>
        <p:spPr>
          <a:xfrm>
            <a:off x="540000" y="1476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8" name="navigation">
            <a:extLst>
              <a:ext uri="{FF2B5EF4-FFF2-40B4-BE49-F238E27FC236}">
                <a16:creationId xmlns:a16="http://schemas.microsoft.com/office/drawing/2014/main" id="{8E79C167-0DDF-C758-833F-88131E67FDF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397297878"/>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  031a : 6 Icons : 6 contents vertical : 5 cm">
    <p:spTree>
      <p:nvGrpSpPr>
        <p:cNvPr id="1" name=""/>
        <p:cNvGrpSpPr/>
        <p:nvPr/>
      </p:nvGrpSpPr>
      <p:grpSpPr>
        <a:xfrm>
          <a:off x="0" y="0"/>
          <a:ext cx="0" cy="0"/>
          <a:chOff x="0" y="0"/>
          <a:chExt cx="0" cy="0"/>
        </a:xfrm>
      </p:grpSpPr>
      <p:sp>
        <p:nvSpPr>
          <p:cNvPr id="21" name="slide number">
            <a:extLst>
              <a:ext uri="{FF2B5EF4-FFF2-40B4-BE49-F238E27FC236}">
                <a16:creationId xmlns:a16="http://schemas.microsoft.com/office/drawing/2014/main" id="{A9ACF289-960C-B8A3-3AC1-922A39C9047B}"/>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22" name="footer">
            <a:extLst>
              <a:ext uri="{FF2B5EF4-FFF2-40B4-BE49-F238E27FC236}">
                <a16:creationId xmlns:a16="http://schemas.microsoft.com/office/drawing/2014/main" id="{DD39A238-34E5-2DB6-20D5-CE2C12F855A1}"/>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23" name="date">
            <a:extLst>
              <a:ext uri="{FF2B5EF4-FFF2-40B4-BE49-F238E27FC236}">
                <a16:creationId xmlns:a16="http://schemas.microsoft.com/office/drawing/2014/main" id="{C5DA8D53-50E2-9231-9FA6-A534CC5BADE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34" name="content 6">
            <a:extLst>
              <a:ext uri="{FF2B5EF4-FFF2-40B4-BE49-F238E27FC236}">
                <a16:creationId xmlns:a16="http://schemas.microsoft.com/office/drawing/2014/main" id="{F7A4AFB9-B2C3-2648-FA1E-F5404C982FDF}"/>
              </a:ext>
            </a:extLst>
          </p:cNvPr>
          <p:cNvSpPr>
            <a:spLocks noGrp="1"/>
          </p:cNvSpPr>
          <p:nvPr>
            <p:ph sz="quarter" idx="32"/>
          </p:nvPr>
        </p:nvSpPr>
        <p:spPr>
          <a:xfrm>
            <a:off x="9840687" y="2205850"/>
            <a:ext cx="1800000" cy="396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35" name="Icon 6">
            <a:extLst>
              <a:ext uri="{FF2B5EF4-FFF2-40B4-BE49-F238E27FC236}">
                <a16:creationId xmlns:a16="http://schemas.microsoft.com/office/drawing/2014/main" id="{822B3CB8-ED61-1808-6266-0634F5404102}"/>
              </a:ext>
            </a:extLst>
          </p:cNvPr>
          <p:cNvSpPr>
            <a:spLocks noGrp="1"/>
          </p:cNvSpPr>
          <p:nvPr>
            <p:ph sz="quarter" idx="33" hasCustomPrompt="1"/>
          </p:nvPr>
        </p:nvSpPr>
        <p:spPr>
          <a:xfrm>
            <a:off x="9840687" y="1476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en-US"/>
              <a:t> </a:t>
            </a:r>
          </a:p>
        </p:txBody>
      </p:sp>
      <p:sp>
        <p:nvSpPr>
          <p:cNvPr id="32" name="content 5">
            <a:extLst>
              <a:ext uri="{FF2B5EF4-FFF2-40B4-BE49-F238E27FC236}">
                <a16:creationId xmlns:a16="http://schemas.microsoft.com/office/drawing/2014/main" id="{7061A03E-E0D3-4843-278C-9A6825A05BE3}"/>
              </a:ext>
            </a:extLst>
          </p:cNvPr>
          <p:cNvSpPr>
            <a:spLocks noGrp="1"/>
          </p:cNvSpPr>
          <p:nvPr>
            <p:ph sz="quarter" idx="30"/>
          </p:nvPr>
        </p:nvSpPr>
        <p:spPr>
          <a:xfrm>
            <a:off x="7980548" y="2205850"/>
            <a:ext cx="1800000" cy="396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33" name="Icon 5">
            <a:extLst>
              <a:ext uri="{FF2B5EF4-FFF2-40B4-BE49-F238E27FC236}">
                <a16:creationId xmlns:a16="http://schemas.microsoft.com/office/drawing/2014/main" id="{00EFF7EE-7A3C-08F8-A84B-FB932F1FB1DC}"/>
              </a:ext>
            </a:extLst>
          </p:cNvPr>
          <p:cNvSpPr>
            <a:spLocks noGrp="1"/>
          </p:cNvSpPr>
          <p:nvPr>
            <p:ph sz="quarter" idx="31" hasCustomPrompt="1"/>
          </p:nvPr>
        </p:nvSpPr>
        <p:spPr>
          <a:xfrm>
            <a:off x="7980548" y="1476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en-US"/>
              <a:t> </a:t>
            </a:r>
          </a:p>
        </p:txBody>
      </p:sp>
      <p:sp>
        <p:nvSpPr>
          <p:cNvPr id="30" name="content 4">
            <a:extLst>
              <a:ext uri="{FF2B5EF4-FFF2-40B4-BE49-F238E27FC236}">
                <a16:creationId xmlns:a16="http://schemas.microsoft.com/office/drawing/2014/main" id="{92E5967C-C1AC-3474-98B8-8B39D5A9BC5E}"/>
              </a:ext>
            </a:extLst>
          </p:cNvPr>
          <p:cNvSpPr>
            <a:spLocks noGrp="1"/>
          </p:cNvSpPr>
          <p:nvPr>
            <p:ph sz="quarter" idx="28"/>
          </p:nvPr>
        </p:nvSpPr>
        <p:spPr>
          <a:xfrm>
            <a:off x="6120411" y="2205850"/>
            <a:ext cx="1800000" cy="396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31" name="Icon 4">
            <a:extLst>
              <a:ext uri="{FF2B5EF4-FFF2-40B4-BE49-F238E27FC236}">
                <a16:creationId xmlns:a16="http://schemas.microsoft.com/office/drawing/2014/main" id="{62186A82-1AD6-577A-F072-1A5465E3718B}"/>
              </a:ext>
            </a:extLst>
          </p:cNvPr>
          <p:cNvSpPr>
            <a:spLocks noGrp="1"/>
          </p:cNvSpPr>
          <p:nvPr>
            <p:ph sz="quarter" idx="29" hasCustomPrompt="1"/>
          </p:nvPr>
        </p:nvSpPr>
        <p:spPr>
          <a:xfrm>
            <a:off x="6120411" y="1476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en-US"/>
              <a:t> </a:t>
            </a:r>
          </a:p>
        </p:txBody>
      </p:sp>
      <p:sp>
        <p:nvSpPr>
          <p:cNvPr id="28" name="content 3">
            <a:extLst>
              <a:ext uri="{FF2B5EF4-FFF2-40B4-BE49-F238E27FC236}">
                <a16:creationId xmlns:a16="http://schemas.microsoft.com/office/drawing/2014/main" id="{88D8A0D9-6C1D-B75B-D0E5-0E8334FDD092}"/>
              </a:ext>
            </a:extLst>
          </p:cNvPr>
          <p:cNvSpPr>
            <a:spLocks noGrp="1"/>
          </p:cNvSpPr>
          <p:nvPr>
            <p:ph sz="quarter" idx="26"/>
          </p:nvPr>
        </p:nvSpPr>
        <p:spPr>
          <a:xfrm>
            <a:off x="4260274" y="2205850"/>
            <a:ext cx="1800000" cy="396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29" name="Icon 3">
            <a:extLst>
              <a:ext uri="{FF2B5EF4-FFF2-40B4-BE49-F238E27FC236}">
                <a16:creationId xmlns:a16="http://schemas.microsoft.com/office/drawing/2014/main" id="{43C6AD31-445E-CEFF-4D01-A97B0D022B4D}"/>
              </a:ext>
            </a:extLst>
          </p:cNvPr>
          <p:cNvSpPr>
            <a:spLocks noGrp="1"/>
          </p:cNvSpPr>
          <p:nvPr>
            <p:ph sz="quarter" idx="27" hasCustomPrompt="1"/>
          </p:nvPr>
        </p:nvSpPr>
        <p:spPr>
          <a:xfrm>
            <a:off x="4260274" y="1476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en-US"/>
              <a:t> </a:t>
            </a:r>
          </a:p>
        </p:txBody>
      </p:sp>
      <p:sp>
        <p:nvSpPr>
          <p:cNvPr id="26" name="content 2">
            <a:extLst>
              <a:ext uri="{FF2B5EF4-FFF2-40B4-BE49-F238E27FC236}">
                <a16:creationId xmlns:a16="http://schemas.microsoft.com/office/drawing/2014/main" id="{925AF7DB-133B-617C-8686-E2FB58784060}"/>
              </a:ext>
            </a:extLst>
          </p:cNvPr>
          <p:cNvSpPr>
            <a:spLocks noGrp="1"/>
          </p:cNvSpPr>
          <p:nvPr>
            <p:ph sz="quarter" idx="24"/>
          </p:nvPr>
        </p:nvSpPr>
        <p:spPr>
          <a:xfrm>
            <a:off x="2400137" y="2205850"/>
            <a:ext cx="1800000" cy="396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27" name="Icon 2">
            <a:extLst>
              <a:ext uri="{FF2B5EF4-FFF2-40B4-BE49-F238E27FC236}">
                <a16:creationId xmlns:a16="http://schemas.microsoft.com/office/drawing/2014/main" id="{FCB99B04-0957-6FB6-09DD-3D6F211329D7}"/>
              </a:ext>
            </a:extLst>
          </p:cNvPr>
          <p:cNvSpPr>
            <a:spLocks noGrp="1"/>
          </p:cNvSpPr>
          <p:nvPr>
            <p:ph sz="quarter" idx="25" hasCustomPrompt="1"/>
          </p:nvPr>
        </p:nvSpPr>
        <p:spPr>
          <a:xfrm>
            <a:off x="2400137" y="1476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en-US"/>
              <a:t> </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2205850"/>
            <a:ext cx="1800000" cy="396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9" name="Icon 1">
            <a:extLst>
              <a:ext uri="{FF2B5EF4-FFF2-40B4-BE49-F238E27FC236}">
                <a16:creationId xmlns:a16="http://schemas.microsoft.com/office/drawing/2014/main" id="{33EE2071-A4F9-F16E-515D-B338908F8097}"/>
              </a:ext>
            </a:extLst>
          </p:cNvPr>
          <p:cNvSpPr>
            <a:spLocks noGrp="1"/>
          </p:cNvSpPr>
          <p:nvPr>
            <p:ph sz="quarter" idx="23"/>
          </p:nvPr>
        </p:nvSpPr>
        <p:spPr>
          <a:xfrm>
            <a:off x="540000" y="1476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8" name="navigation">
            <a:extLst>
              <a:ext uri="{FF2B5EF4-FFF2-40B4-BE49-F238E27FC236}">
                <a16:creationId xmlns:a16="http://schemas.microsoft.com/office/drawing/2014/main" id="{8E79C167-0DDF-C758-833F-88131E67FDF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901604832"/>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  032 : map : 8 contents below">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37672E6B-D56A-9FDA-8DA1-98B1D23FA12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6" name="footer">
            <a:extLst>
              <a:ext uri="{FF2B5EF4-FFF2-40B4-BE49-F238E27FC236}">
                <a16:creationId xmlns:a16="http://schemas.microsoft.com/office/drawing/2014/main" id="{7222DFE1-BC04-B8AC-5461-17073F0DC35D}"/>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8" name="date">
            <a:extLst>
              <a:ext uri="{FF2B5EF4-FFF2-40B4-BE49-F238E27FC236}">
                <a16:creationId xmlns:a16="http://schemas.microsoft.com/office/drawing/2014/main" id="{6DD1CB9A-21EB-DD32-CC17-503D2123CEC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8" name="content 8">
            <a:extLst>
              <a:ext uri="{FF2B5EF4-FFF2-40B4-BE49-F238E27FC236}">
                <a16:creationId xmlns:a16="http://schemas.microsoft.com/office/drawing/2014/main" id="{518B5815-FAF1-382A-90D5-5E2A36D98686}"/>
              </a:ext>
            </a:extLst>
          </p:cNvPr>
          <p:cNvSpPr>
            <a:spLocks noGrp="1"/>
          </p:cNvSpPr>
          <p:nvPr>
            <p:ph sz="quarter" idx="31"/>
          </p:nvPr>
        </p:nvSpPr>
        <p:spPr>
          <a:xfrm>
            <a:off x="10536343"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6" name="content 7">
            <a:extLst>
              <a:ext uri="{FF2B5EF4-FFF2-40B4-BE49-F238E27FC236}">
                <a16:creationId xmlns:a16="http://schemas.microsoft.com/office/drawing/2014/main" id="{B5886103-0D8E-5D01-3B87-1FDDA2E05BE4}"/>
              </a:ext>
            </a:extLst>
          </p:cNvPr>
          <p:cNvSpPr>
            <a:spLocks noGrp="1"/>
          </p:cNvSpPr>
          <p:nvPr>
            <p:ph sz="quarter" idx="25"/>
          </p:nvPr>
        </p:nvSpPr>
        <p:spPr>
          <a:xfrm>
            <a:off x="9108291"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10" name="content 6">
            <a:extLst>
              <a:ext uri="{FF2B5EF4-FFF2-40B4-BE49-F238E27FC236}">
                <a16:creationId xmlns:a16="http://schemas.microsoft.com/office/drawing/2014/main" id="{1F4D443D-5AA5-A727-9590-E25C5752F890}"/>
              </a:ext>
            </a:extLst>
          </p:cNvPr>
          <p:cNvSpPr>
            <a:spLocks noGrp="1"/>
          </p:cNvSpPr>
          <p:nvPr>
            <p:ph sz="quarter" idx="33"/>
          </p:nvPr>
        </p:nvSpPr>
        <p:spPr>
          <a:xfrm>
            <a:off x="7680242"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4" name="content 5">
            <a:extLst>
              <a:ext uri="{FF2B5EF4-FFF2-40B4-BE49-F238E27FC236}">
                <a16:creationId xmlns:a16="http://schemas.microsoft.com/office/drawing/2014/main" id="{0F189F99-D754-4356-5E4B-0F553CC9C353}"/>
              </a:ext>
            </a:extLst>
          </p:cNvPr>
          <p:cNvSpPr>
            <a:spLocks noGrp="1"/>
          </p:cNvSpPr>
          <p:nvPr>
            <p:ph sz="quarter" idx="24"/>
          </p:nvPr>
        </p:nvSpPr>
        <p:spPr>
          <a:xfrm>
            <a:off x="6252193"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11" name="content 4">
            <a:extLst>
              <a:ext uri="{FF2B5EF4-FFF2-40B4-BE49-F238E27FC236}">
                <a16:creationId xmlns:a16="http://schemas.microsoft.com/office/drawing/2014/main" id="{BBC2B3C5-519E-7447-E8AE-4CE6264B8271}"/>
              </a:ext>
            </a:extLst>
          </p:cNvPr>
          <p:cNvSpPr>
            <a:spLocks noGrp="1"/>
          </p:cNvSpPr>
          <p:nvPr>
            <p:ph sz="quarter" idx="34"/>
          </p:nvPr>
        </p:nvSpPr>
        <p:spPr>
          <a:xfrm>
            <a:off x="4824144"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3" name="content 3">
            <a:extLst>
              <a:ext uri="{FF2B5EF4-FFF2-40B4-BE49-F238E27FC236}">
                <a16:creationId xmlns:a16="http://schemas.microsoft.com/office/drawing/2014/main" id="{77A29EE5-2B1C-3EC4-6F36-6ECBC9D69F26}"/>
              </a:ext>
            </a:extLst>
          </p:cNvPr>
          <p:cNvSpPr>
            <a:spLocks noGrp="1"/>
          </p:cNvSpPr>
          <p:nvPr>
            <p:ph sz="quarter" idx="22"/>
          </p:nvPr>
        </p:nvSpPr>
        <p:spPr>
          <a:xfrm>
            <a:off x="3396095"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15" name="content 2">
            <a:extLst>
              <a:ext uri="{FF2B5EF4-FFF2-40B4-BE49-F238E27FC236}">
                <a16:creationId xmlns:a16="http://schemas.microsoft.com/office/drawing/2014/main" id="{B8111F2A-6B01-4671-279E-B12FFC0DADB1}"/>
              </a:ext>
            </a:extLst>
          </p:cNvPr>
          <p:cNvSpPr>
            <a:spLocks noGrp="1"/>
          </p:cNvSpPr>
          <p:nvPr>
            <p:ph sz="quarter" idx="35"/>
          </p:nvPr>
        </p:nvSpPr>
        <p:spPr>
          <a:xfrm>
            <a:off x="1968046" y="4191000"/>
            <a:ext cx="1296000" cy="1980000"/>
          </a:xfrm>
          <a:prstGeom prst="rect">
            <a:avLst/>
          </a:prstGeom>
          <a:noFill/>
        </p:spPr>
        <p:txBody>
          <a:bodyPr vert="horz" lIns="0" tIns="0" rIns="0" bIns="0" rtlCol="0">
            <a:noAutofit/>
          </a:bodyPr>
          <a:lstStyle>
            <a:lvl1pPr>
              <a:defRPr lang="en-US" sz="1200" b="0" kern="1200" baseline="0" noProof="0" dirty="0">
                <a:solidFill>
                  <a:schemeClr val="tx2"/>
                </a:solidFill>
                <a:latin typeface="+mn-lt"/>
                <a:ea typeface="+mn-ea"/>
                <a:cs typeface="+mn-cs"/>
              </a:defRPr>
            </a:lvl1pPr>
            <a:lvl5pPr>
              <a:defRPr lang="en-US" dirty="0"/>
            </a:lvl5pPr>
          </a:lstStyle>
          <a:p>
            <a:pPr lvl="0"/>
            <a:r>
              <a:rPr lang="de-DE"/>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39997"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5" name="navigation">
            <a:extLst>
              <a:ext uri="{FF2B5EF4-FFF2-40B4-BE49-F238E27FC236}">
                <a16:creationId xmlns:a16="http://schemas.microsoft.com/office/drawing/2014/main" id="{7283CE9D-9870-A915-832E-B264A8B01E4F}"/>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07428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  033 : 8 logowall">
    <p:spTree>
      <p:nvGrpSpPr>
        <p:cNvPr id="1" name=""/>
        <p:cNvGrpSpPr/>
        <p:nvPr/>
      </p:nvGrpSpPr>
      <p:grpSpPr>
        <a:xfrm>
          <a:off x="0" y="0"/>
          <a:ext cx="0" cy="0"/>
          <a:chOff x="0" y="0"/>
          <a:chExt cx="0" cy="0"/>
        </a:xfrm>
      </p:grpSpPr>
      <p:sp>
        <p:nvSpPr>
          <p:cNvPr id="3" name="slide number">
            <a:extLst>
              <a:ext uri="{FF2B5EF4-FFF2-40B4-BE49-F238E27FC236}">
                <a16:creationId xmlns:a16="http://schemas.microsoft.com/office/drawing/2014/main" id="{A3AFCC88-0942-2B4E-9F33-76D6C3BFA8DB}"/>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4" name="footer">
            <a:extLst>
              <a:ext uri="{FF2B5EF4-FFF2-40B4-BE49-F238E27FC236}">
                <a16:creationId xmlns:a16="http://schemas.microsoft.com/office/drawing/2014/main" id="{FEBA2A75-F427-C296-FEA8-F79E540072EF}"/>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6" name="date">
            <a:extLst>
              <a:ext uri="{FF2B5EF4-FFF2-40B4-BE49-F238E27FC236}">
                <a16:creationId xmlns:a16="http://schemas.microsoft.com/office/drawing/2014/main" id="{BFF897E0-A2D1-3E0D-EB48-AF3C638E21A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44" name="bg 8">
            <a:extLst>
              <a:ext uri="{FF2B5EF4-FFF2-40B4-BE49-F238E27FC236}">
                <a16:creationId xmlns:a16="http://schemas.microsoft.com/office/drawing/2014/main" id="{798E3A3B-0F96-5231-F93C-20C93AD0DDDB}"/>
              </a:ext>
            </a:extLst>
          </p:cNvPr>
          <p:cNvSpPr>
            <a:spLocks noGrp="1"/>
          </p:cNvSpPr>
          <p:nvPr>
            <p:ph type="body" idx="57" hasCustomPrompt="1"/>
          </p:nvPr>
        </p:nvSpPr>
        <p:spPr>
          <a:xfrm>
            <a:off x="9108000" y="4727579"/>
            <a:ext cx="2520000" cy="1440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45" name="logo placeholder 8">
            <a:extLst>
              <a:ext uri="{FF2B5EF4-FFF2-40B4-BE49-F238E27FC236}">
                <a16:creationId xmlns:a16="http://schemas.microsoft.com/office/drawing/2014/main" id="{464FBB89-38A9-A152-EF87-B014A3C3504C}"/>
              </a:ext>
            </a:extLst>
          </p:cNvPr>
          <p:cNvSpPr>
            <a:spLocks noGrp="1"/>
          </p:cNvSpPr>
          <p:nvPr>
            <p:ph type="pic" sz="quarter" idx="58"/>
          </p:nvPr>
        </p:nvSpPr>
        <p:spPr>
          <a:xfrm>
            <a:off x="9684000" y="5177579"/>
            <a:ext cx="1368000" cy="540000"/>
          </a:xfrm>
        </p:spPr>
        <p:txBody>
          <a:bodyPr>
            <a:noAutofit/>
          </a:bodyPr>
          <a:lstStyle/>
          <a:p>
            <a:r>
              <a:rPr lang="de-DE"/>
              <a:t>Bild durch Klicken auf Symbol hinzufügen</a:t>
            </a:r>
            <a:endParaRPr lang="en-US"/>
          </a:p>
        </p:txBody>
      </p:sp>
      <p:sp>
        <p:nvSpPr>
          <p:cNvPr id="42" name="bg 7">
            <a:extLst>
              <a:ext uri="{FF2B5EF4-FFF2-40B4-BE49-F238E27FC236}">
                <a16:creationId xmlns:a16="http://schemas.microsoft.com/office/drawing/2014/main" id="{8555F016-E89A-612F-9BF6-19DCA33D9A7B}"/>
              </a:ext>
            </a:extLst>
          </p:cNvPr>
          <p:cNvSpPr>
            <a:spLocks noGrp="1"/>
          </p:cNvSpPr>
          <p:nvPr>
            <p:ph type="body" idx="55" hasCustomPrompt="1"/>
          </p:nvPr>
        </p:nvSpPr>
        <p:spPr>
          <a:xfrm>
            <a:off x="6255621" y="4727579"/>
            <a:ext cx="2520000" cy="1440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43" name="logo placeholder 7">
            <a:extLst>
              <a:ext uri="{FF2B5EF4-FFF2-40B4-BE49-F238E27FC236}">
                <a16:creationId xmlns:a16="http://schemas.microsoft.com/office/drawing/2014/main" id="{E473467E-4A35-36E3-83E5-96CD9C835CA4}"/>
              </a:ext>
            </a:extLst>
          </p:cNvPr>
          <p:cNvSpPr>
            <a:spLocks noGrp="1"/>
          </p:cNvSpPr>
          <p:nvPr>
            <p:ph type="pic" sz="quarter" idx="56"/>
          </p:nvPr>
        </p:nvSpPr>
        <p:spPr>
          <a:xfrm>
            <a:off x="6831621" y="5177579"/>
            <a:ext cx="1368000" cy="540000"/>
          </a:xfrm>
        </p:spPr>
        <p:txBody>
          <a:bodyPr>
            <a:noAutofit/>
          </a:bodyPr>
          <a:lstStyle/>
          <a:p>
            <a:r>
              <a:rPr lang="de-DE"/>
              <a:t>Bild durch Klicken auf Symbol hinzufügen</a:t>
            </a:r>
            <a:endParaRPr lang="en-US"/>
          </a:p>
        </p:txBody>
      </p:sp>
      <p:sp>
        <p:nvSpPr>
          <p:cNvPr id="36" name="bg 6">
            <a:extLst>
              <a:ext uri="{FF2B5EF4-FFF2-40B4-BE49-F238E27FC236}">
                <a16:creationId xmlns:a16="http://schemas.microsoft.com/office/drawing/2014/main" id="{7C11DA8E-A99A-C329-7460-AE56A9B9F31D}"/>
              </a:ext>
            </a:extLst>
          </p:cNvPr>
          <p:cNvSpPr>
            <a:spLocks noGrp="1"/>
          </p:cNvSpPr>
          <p:nvPr>
            <p:ph type="body" idx="53" hasCustomPrompt="1"/>
          </p:nvPr>
        </p:nvSpPr>
        <p:spPr>
          <a:xfrm>
            <a:off x="3400526" y="4727579"/>
            <a:ext cx="2520000" cy="1440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37" name="logo placeholder 6">
            <a:extLst>
              <a:ext uri="{FF2B5EF4-FFF2-40B4-BE49-F238E27FC236}">
                <a16:creationId xmlns:a16="http://schemas.microsoft.com/office/drawing/2014/main" id="{09068B7D-F7DF-3D38-FCD8-5376466AED76}"/>
              </a:ext>
            </a:extLst>
          </p:cNvPr>
          <p:cNvSpPr>
            <a:spLocks noGrp="1"/>
          </p:cNvSpPr>
          <p:nvPr>
            <p:ph type="pic" sz="quarter" idx="54"/>
          </p:nvPr>
        </p:nvSpPr>
        <p:spPr>
          <a:xfrm>
            <a:off x="3976526" y="5177579"/>
            <a:ext cx="1368000" cy="540000"/>
          </a:xfrm>
        </p:spPr>
        <p:txBody>
          <a:bodyPr>
            <a:noAutofit/>
          </a:bodyPr>
          <a:lstStyle/>
          <a:p>
            <a:r>
              <a:rPr lang="de-DE"/>
              <a:t>Bild durch Klicken auf Symbol hinzufügen</a:t>
            </a:r>
            <a:endParaRPr lang="en-US"/>
          </a:p>
        </p:txBody>
      </p:sp>
      <p:sp>
        <p:nvSpPr>
          <p:cNvPr id="12" name="bg 5">
            <a:extLst>
              <a:ext uri="{FF2B5EF4-FFF2-40B4-BE49-F238E27FC236}">
                <a16:creationId xmlns:a16="http://schemas.microsoft.com/office/drawing/2014/main" id="{FFACDF31-97FC-D3EC-DA88-672D82A6CD00}"/>
              </a:ext>
            </a:extLst>
          </p:cNvPr>
          <p:cNvSpPr>
            <a:spLocks noGrp="1"/>
          </p:cNvSpPr>
          <p:nvPr>
            <p:ph type="body" idx="49" hasCustomPrompt="1"/>
          </p:nvPr>
        </p:nvSpPr>
        <p:spPr>
          <a:xfrm>
            <a:off x="540000" y="4727579"/>
            <a:ext cx="2520000" cy="1440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9" name="logo placeholder 5">
            <a:extLst>
              <a:ext uri="{FF2B5EF4-FFF2-40B4-BE49-F238E27FC236}">
                <a16:creationId xmlns:a16="http://schemas.microsoft.com/office/drawing/2014/main" id="{C52F9749-023E-F9B9-1016-F2ED8BA56178}"/>
              </a:ext>
            </a:extLst>
          </p:cNvPr>
          <p:cNvSpPr>
            <a:spLocks noGrp="1"/>
          </p:cNvSpPr>
          <p:nvPr>
            <p:ph type="pic" sz="quarter" idx="36"/>
          </p:nvPr>
        </p:nvSpPr>
        <p:spPr>
          <a:xfrm>
            <a:off x="1116000" y="5177579"/>
            <a:ext cx="1368000" cy="540000"/>
          </a:xfrm>
        </p:spPr>
        <p:txBody>
          <a:bodyPr>
            <a:noAutofit/>
          </a:bodyPr>
          <a:lstStyle/>
          <a:p>
            <a:r>
              <a:rPr lang="de-DE"/>
              <a:t>Bild durch Klicken auf Symbol hinzufügen</a:t>
            </a:r>
            <a:endParaRPr lang="en-US"/>
          </a:p>
        </p:txBody>
      </p:sp>
      <p:sp>
        <p:nvSpPr>
          <p:cNvPr id="53" name="bg 4">
            <a:extLst>
              <a:ext uri="{FF2B5EF4-FFF2-40B4-BE49-F238E27FC236}">
                <a16:creationId xmlns:a16="http://schemas.microsoft.com/office/drawing/2014/main" id="{601DEF52-7D74-9304-2866-D934720448A1}"/>
              </a:ext>
            </a:extLst>
          </p:cNvPr>
          <p:cNvSpPr>
            <a:spLocks noGrp="1"/>
          </p:cNvSpPr>
          <p:nvPr>
            <p:ph type="body" idx="65" hasCustomPrompt="1"/>
          </p:nvPr>
        </p:nvSpPr>
        <p:spPr>
          <a:xfrm>
            <a:off x="9108000" y="2922972"/>
            <a:ext cx="2520000" cy="1440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54" name="logo placeholder 4">
            <a:extLst>
              <a:ext uri="{FF2B5EF4-FFF2-40B4-BE49-F238E27FC236}">
                <a16:creationId xmlns:a16="http://schemas.microsoft.com/office/drawing/2014/main" id="{CC776A6E-2018-2F8D-D574-45FB8EC69F8D}"/>
              </a:ext>
            </a:extLst>
          </p:cNvPr>
          <p:cNvSpPr>
            <a:spLocks noGrp="1"/>
          </p:cNvSpPr>
          <p:nvPr>
            <p:ph type="pic" sz="quarter" idx="66"/>
          </p:nvPr>
        </p:nvSpPr>
        <p:spPr>
          <a:xfrm>
            <a:off x="9684000" y="3372972"/>
            <a:ext cx="1368000" cy="540000"/>
          </a:xfrm>
        </p:spPr>
        <p:txBody>
          <a:bodyPr>
            <a:noAutofit/>
          </a:bodyPr>
          <a:lstStyle/>
          <a:p>
            <a:r>
              <a:rPr lang="de-DE"/>
              <a:t>Bild durch Klicken auf Symbol hinzufügen</a:t>
            </a:r>
            <a:endParaRPr lang="en-US"/>
          </a:p>
        </p:txBody>
      </p:sp>
      <p:sp>
        <p:nvSpPr>
          <p:cNvPr id="51" name="bg 3">
            <a:extLst>
              <a:ext uri="{FF2B5EF4-FFF2-40B4-BE49-F238E27FC236}">
                <a16:creationId xmlns:a16="http://schemas.microsoft.com/office/drawing/2014/main" id="{90FF352D-6277-5E1B-C1CD-841493BDA38E}"/>
              </a:ext>
            </a:extLst>
          </p:cNvPr>
          <p:cNvSpPr>
            <a:spLocks noGrp="1"/>
          </p:cNvSpPr>
          <p:nvPr>
            <p:ph type="body" idx="63" hasCustomPrompt="1"/>
          </p:nvPr>
        </p:nvSpPr>
        <p:spPr>
          <a:xfrm>
            <a:off x="6255621" y="2922972"/>
            <a:ext cx="2520000" cy="1440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52" name="logo placeholder 3">
            <a:extLst>
              <a:ext uri="{FF2B5EF4-FFF2-40B4-BE49-F238E27FC236}">
                <a16:creationId xmlns:a16="http://schemas.microsoft.com/office/drawing/2014/main" id="{7F2643F3-3E6A-D50B-15D4-0AC553260C10}"/>
              </a:ext>
            </a:extLst>
          </p:cNvPr>
          <p:cNvSpPr>
            <a:spLocks noGrp="1"/>
          </p:cNvSpPr>
          <p:nvPr>
            <p:ph type="pic" sz="quarter" idx="64"/>
          </p:nvPr>
        </p:nvSpPr>
        <p:spPr>
          <a:xfrm>
            <a:off x="6831621" y="3372972"/>
            <a:ext cx="1368000" cy="540000"/>
          </a:xfrm>
        </p:spPr>
        <p:txBody>
          <a:bodyPr>
            <a:noAutofit/>
          </a:bodyPr>
          <a:lstStyle/>
          <a:p>
            <a:r>
              <a:rPr lang="de-DE"/>
              <a:t>Bild durch Klicken auf Symbol hinzufügen</a:t>
            </a:r>
            <a:endParaRPr lang="en-US"/>
          </a:p>
        </p:txBody>
      </p:sp>
      <p:sp>
        <p:nvSpPr>
          <p:cNvPr id="49" name="bg 2">
            <a:extLst>
              <a:ext uri="{FF2B5EF4-FFF2-40B4-BE49-F238E27FC236}">
                <a16:creationId xmlns:a16="http://schemas.microsoft.com/office/drawing/2014/main" id="{8271526C-032C-9312-2D01-DE88E536D62A}"/>
              </a:ext>
            </a:extLst>
          </p:cNvPr>
          <p:cNvSpPr>
            <a:spLocks noGrp="1"/>
          </p:cNvSpPr>
          <p:nvPr>
            <p:ph type="body" idx="61" hasCustomPrompt="1"/>
          </p:nvPr>
        </p:nvSpPr>
        <p:spPr>
          <a:xfrm>
            <a:off x="3400526" y="2922972"/>
            <a:ext cx="2520000" cy="1440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50" name="logo placeholder 2">
            <a:extLst>
              <a:ext uri="{FF2B5EF4-FFF2-40B4-BE49-F238E27FC236}">
                <a16:creationId xmlns:a16="http://schemas.microsoft.com/office/drawing/2014/main" id="{BCB99A0E-B2C9-A6FB-1AC8-48C395038955}"/>
              </a:ext>
            </a:extLst>
          </p:cNvPr>
          <p:cNvSpPr>
            <a:spLocks noGrp="1"/>
          </p:cNvSpPr>
          <p:nvPr>
            <p:ph type="pic" sz="quarter" idx="62"/>
          </p:nvPr>
        </p:nvSpPr>
        <p:spPr>
          <a:xfrm>
            <a:off x="3976526" y="3372972"/>
            <a:ext cx="1368000" cy="540000"/>
          </a:xfrm>
        </p:spPr>
        <p:txBody>
          <a:bodyPr>
            <a:noAutofit/>
          </a:bodyPr>
          <a:lstStyle/>
          <a:p>
            <a:r>
              <a:rPr lang="de-DE"/>
              <a:t>Bild durch Klicken auf Symbol hinzufügen</a:t>
            </a:r>
            <a:endParaRPr lang="en-US"/>
          </a:p>
        </p:txBody>
      </p:sp>
      <p:sp>
        <p:nvSpPr>
          <p:cNvPr id="47" name="bg 1">
            <a:extLst>
              <a:ext uri="{FF2B5EF4-FFF2-40B4-BE49-F238E27FC236}">
                <a16:creationId xmlns:a16="http://schemas.microsoft.com/office/drawing/2014/main" id="{5F485D5F-DCC0-A778-AAB3-9A229AD87CE6}"/>
              </a:ext>
            </a:extLst>
          </p:cNvPr>
          <p:cNvSpPr>
            <a:spLocks noGrp="1"/>
          </p:cNvSpPr>
          <p:nvPr>
            <p:ph type="body" idx="59" hasCustomPrompt="1"/>
          </p:nvPr>
        </p:nvSpPr>
        <p:spPr>
          <a:xfrm>
            <a:off x="540000" y="2922972"/>
            <a:ext cx="2520000" cy="1440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48" name="logo placeholder 1">
            <a:extLst>
              <a:ext uri="{FF2B5EF4-FFF2-40B4-BE49-F238E27FC236}">
                <a16:creationId xmlns:a16="http://schemas.microsoft.com/office/drawing/2014/main" id="{FB7F0871-2D86-D57B-F44D-26C39C15F7DD}"/>
              </a:ext>
            </a:extLst>
          </p:cNvPr>
          <p:cNvSpPr>
            <a:spLocks noGrp="1"/>
          </p:cNvSpPr>
          <p:nvPr>
            <p:ph type="pic" sz="quarter" idx="60"/>
          </p:nvPr>
        </p:nvSpPr>
        <p:spPr>
          <a:xfrm>
            <a:off x="1116000" y="3372972"/>
            <a:ext cx="1368000" cy="540000"/>
          </a:xfrm>
        </p:spPr>
        <p:txBody>
          <a:bodyPr>
            <a:noAutofit/>
          </a:bodyPr>
          <a:lstStyle/>
          <a:p>
            <a:r>
              <a:rPr lang="de-DE"/>
              <a:t>Bild durch Klicken auf Symbol hinzufügen</a:t>
            </a:r>
            <a:endParaRPr lang="en-US"/>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FDF1F3F5-35AF-218A-96C9-50E5DFCBA5C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2972946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  034 : 15 logowall">
    <p:spTree>
      <p:nvGrpSpPr>
        <p:cNvPr id="1" name=""/>
        <p:cNvGrpSpPr/>
        <p:nvPr/>
      </p:nvGrpSpPr>
      <p:grpSpPr>
        <a:xfrm>
          <a:off x="0" y="0"/>
          <a:ext cx="0" cy="0"/>
          <a:chOff x="0" y="0"/>
          <a:chExt cx="0" cy="0"/>
        </a:xfrm>
      </p:grpSpPr>
      <p:sp>
        <p:nvSpPr>
          <p:cNvPr id="3" name="slide number">
            <a:extLst>
              <a:ext uri="{FF2B5EF4-FFF2-40B4-BE49-F238E27FC236}">
                <a16:creationId xmlns:a16="http://schemas.microsoft.com/office/drawing/2014/main" id="{27864EB8-4E56-85B9-09A4-A8CDAC1D1544}"/>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4" name="footer">
            <a:extLst>
              <a:ext uri="{FF2B5EF4-FFF2-40B4-BE49-F238E27FC236}">
                <a16:creationId xmlns:a16="http://schemas.microsoft.com/office/drawing/2014/main" id="{457849FC-F19D-3246-E4A3-0B33A1E2675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5" name="date">
            <a:extLst>
              <a:ext uri="{FF2B5EF4-FFF2-40B4-BE49-F238E27FC236}">
                <a16:creationId xmlns:a16="http://schemas.microsoft.com/office/drawing/2014/main" id="{16D7681B-6A09-BE53-1C5E-32ECBACA065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5" name="bg 15">
            <a:extLst>
              <a:ext uri="{FF2B5EF4-FFF2-40B4-BE49-F238E27FC236}">
                <a16:creationId xmlns:a16="http://schemas.microsoft.com/office/drawing/2014/main" id="{9C59C73B-27AB-FA21-B165-B9AADA68AC8E}"/>
              </a:ext>
            </a:extLst>
          </p:cNvPr>
          <p:cNvSpPr>
            <a:spLocks noGrp="1"/>
          </p:cNvSpPr>
          <p:nvPr>
            <p:ph type="body" idx="69" hasCustomPrompt="1"/>
          </p:nvPr>
        </p:nvSpPr>
        <p:spPr>
          <a:xfrm>
            <a:off x="9636000" y="5008404"/>
            <a:ext cx="2016000" cy="115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3" name="picture placeholder 15">
            <a:extLst>
              <a:ext uri="{FF2B5EF4-FFF2-40B4-BE49-F238E27FC236}">
                <a16:creationId xmlns:a16="http://schemas.microsoft.com/office/drawing/2014/main" id="{2E890C8E-9507-C2EE-FD9D-070CE31733E2}"/>
              </a:ext>
            </a:extLst>
          </p:cNvPr>
          <p:cNvSpPr>
            <a:spLocks noGrp="1"/>
          </p:cNvSpPr>
          <p:nvPr>
            <p:ph type="pic" sz="quarter" idx="23"/>
          </p:nvPr>
        </p:nvSpPr>
        <p:spPr>
          <a:xfrm>
            <a:off x="9948700" y="5314404"/>
            <a:ext cx="1368000" cy="540000"/>
          </a:xfrm>
        </p:spPr>
        <p:txBody>
          <a:bodyPr>
            <a:noAutofit/>
          </a:bodyPr>
          <a:lstStyle/>
          <a:p>
            <a:r>
              <a:rPr lang="de-DE"/>
              <a:t>Bild durch Klicken auf Symbol hinzufügen</a:t>
            </a:r>
            <a:endParaRPr lang="en-US"/>
          </a:p>
        </p:txBody>
      </p:sp>
      <p:sp>
        <p:nvSpPr>
          <p:cNvPr id="28" name="bg 14">
            <a:extLst>
              <a:ext uri="{FF2B5EF4-FFF2-40B4-BE49-F238E27FC236}">
                <a16:creationId xmlns:a16="http://schemas.microsoft.com/office/drawing/2014/main" id="{0679E6A9-C8F5-6513-42E5-3A0D9E1DCD9A}"/>
              </a:ext>
            </a:extLst>
          </p:cNvPr>
          <p:cNvSpPr>
            <a:spLocks noGrp="1"/>
          </p:cNvSpPr>
          <p:nvPr>
            <p:ph type="body" idx="70" hasCustomPrompt="1"/>
          </p:nvPr>
        </p:nvSpPr>
        <p:spPr>
          <a:xfrm>
            <a:off x="7362000" y="5008404"/>
            <a:ext cx="2016000" cy="115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38" name="picture placeholder 14">
            <a:extLst>
              <a:ext uri="{FF2B5EF4-FFF2-40B4-BE49-F238E27FC236}">
                <a16:creationId xmlns:a16="http://schemas.microsoft.com/office/drawing/2014/main" id="{B813425A-0B5A-A6C1-9B5C-BA7BF0CBC71A}"/>
              </a:ext>
            </a:extLst>
          </p:cNvPr>
          <p:cNvSpPr>
            <a:spLocks noGrp="1"/>
          </p:cNvSpPr>
          <p:nvPr>
            <p:ph type="pic" sz="quarter" idx="19"/>
          </p:nvPr>
        </p:nvSpPr>
        <p:spPr>
          <a:xfrm>
            <a:off x="7677525" y="5314404"/>
            <a:ext cx="1368000" cy="540000"/>
          </a:xfrm>
        </p:spPr>
        <p:txBody>
          <a:bodyPr>
            <a:noAutofit/>
          </a:bodyPr>
          <a:lstStyle/>
          <a:p>
            <a:r>
              <a:rPr lang="de-DE"/>
              <a:t>Bild durch Klicken auf Symbol hinzufügen</a:t>
            </a:r>
            <a:endParaRPr lang="en-US"/>
          </a:p>
        </p:txBody>
      </p:sp>
      <p:sp>
        <p:nvSpPr>
          <p:cNvPr id="31" name="bg 13">
            <a:extLst>
              <a:ext uri="{FF2B5EF4-FFF2-40B4-BE49-F238E27FC236}">
                <a16:creationId xmlns:a16="http://schemas.microsoft.com/office/drawing/2014/main" id="{1B1F3CCB-B9E2-1161-0D08-3F1A1DA3A7E8}"/>
              </a:ext>
            </a:extLst>
          </p:cNvPr>
          <p:cNvSpPr>
            <a:spLocks noGrp="1"/>
          </p:cNvSpPr>
          <p:nvPr>
            <p:ph type="body" idx="71" hasCustomPrompt="1"/>
          </p:nvPr>
        </p:nvSpPr>
        <p:spPr>
          <a:xfrm>
            <a:off x="5088000" y="5008404"/>
            <a:ext cx="2016000" cy="115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39" name="picture placeholder 13">
            <a:extLst>
              <a:ext uri="{FF2B5EF4-FFF2-40B4-BE49-F238E27FC236}">
                <a16:creationId xmlns:a16="http://schemas.microsoft.com/office/drawing/2014/main" id="{2D846DC3-419F-48F8-0693-CE0C549D2F55}"/>
              </a:ext>
            </a:extLst>
          </p:cNvPr>
          <p:cNvSpPr>
            <a:spLocks noGrp="1"/>
          </p:cNvSpPr>
          <p:nvPr>
            <p:ph type="pic" sz="quarter" idx="20"/>
          </p:nvPr>
        </p:nvSpPr>
        <p:spPr>
          <a:xfrm>
            <a:off x="5406350" y="5314404"/>
            <a:ext cx="1368000" cy="540000"/>
          </a:xfrm>
        </p:spPr>
        <p:txBody>
          <a:bodyPr>
            <a:noAutofit/>
          </a:bodyPr>
          <a:lstStyle/>
          <a:p>
            <a:r>
              <a:rPr lang="de-DE"/>
              <a:t>Bild durch Klicken auf Symbol hinzufügen</a:t>
            </a:r>
            <a:endParaRPr lang="en-US"/>
          </a:p>
        </p:txBody>
      </p:sp>
      <p:sp>
        <p:nvSpPr>
          <p:cNvPr id="32" name="bg 12">
            <a:extLst>
              <a:ext uri="{FF2B5EF4-FFF2-40B4-BE49-F238E27FC236}">
                <a16:creationId xmlns:a16="http://schemas.microsoft.com/office/drawing/2014/main" id="{B23E9E28-70D9-6C2E-F024-EB8B8A566431}"/>
              </a:ext>
            </a:extLst>
          </p:cNvPr>
          <p:cNvSpPr>
            <a:spLocks noGrp="1"/>
          </p:cNvSpPr>
          <p:nvPr>
            <p:ph type="body" idx="72" hasCustomPrompt="1"/>
          </p:nvPr>
        </p:nvSpPr>
        <p:spPr>
          <a:xfrm>
            <a:off x="2814000" y="5008404"/>
            <a:ext cx="2016000" cy="115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40" name="picture placeholder 12">
            <a:extLst>
              <a:ext uri="{FF2B5EF4-FFF2-40B4-BE49-F238E27FC236}">
                <a16:creationId xmlns:a16="http://schemas.microsoft.com/office/drawing/2014/main" id="{97979B19-8D6D-216E-BB58-CC5DA169D861}"/>
              </a:ext>
            </a:extLst>
          </p:cNvPr>
          <p:cNvSpPr>
            <a:spLocks noGrp="1"/>
          </p:cNvSpPr>
          <p:nvPr>
            <p:ph type="pic" sz="quarter" idx="21"/>
          </p:nvPr>
        </p:nvSpPr>
        <p:spPr>
          <a:xfrm>
            <a:off x="3135175" y="5314404"/>
            <a:ext cx="1368000" cy="540000"/>
          </a:xfrm>
        </p:spPr>
        <p:txBody>
          <a:bodyPr>
            <a:noAutofit/>
          </a:bodyPr>
          <a:lstStyle/>
          <a:p>
            <a:r>
              <a:rPr lang="de-DE"/>
              <a:t>Bild durch Klicken auf Symbol hinzufügen</a:t>
            </a:r>
            <a:endParaRPr lang="en-US"/>
          </a:p>
        </p:txBody>
      </p:sp>
      <p:sp>
        <p:nvSpPr>
          <p:cNvPr id="53" name="bg 11">
            <a:extLst>
              <a:ext uri="{FF2B5EF4-FFF2-40B4-BE49-F238E27FC236}">
                <a16:creationId xmlns:a16="http://schemas.microsoft.com/office/drawing/2014/main" id="{8473370E-8F36-4320-8A70-A84A35407F2E}"/>
              </a:ext>
            </a:extLst>
          </p:cNvPr>
          <p:cNvSpPr>
            <a:spLocks noGrp="1"/>
          </p:cNvSpPr>
          <p:nvPr>
            <p:ph type="body" idx="73" hasCustomPrompt="1"/>
          </p:nvPr>
        </p:nvSpPr>
        <p:spPr>
          <a:xfrm>
            <a:off x="540000" y="5008404"/>
            <a:ext cx="2016000" cy="115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41" name="picture placeholder 11">
            <a:extLst>
              <a:ext uri="{FF2B5EF4-FFF2-40B4-BE49-F238E27FC236}">
                <a16:creationId xmlns:a16="http://schemas.microsoft.com/office/drawing/2014/main" id="{6222EA8F-CAC8-E9BF-FF49-CFEA020DA8E9}"/>
              </a:ext>
            </a:extLst>
          </p:cNvPr>
          <p:cNvSpPr>
            <a:spLocks noGrp="1"/>
          </p:cNvSpPr>
          <p:nvPr>
            <p:ph type="pic" sz="quarter" idx="22"/>
          </p:nvPr>
        </p:nvSpPr>
        <p:spPr>
          <a:xfrm>
            <a:off x="864000" y="5314404"/>
            <a:ext cx="1368000" cy="540000"/>
          </a:xfrm>
        </p:spPr>
        <p:txBody>
          <a:bodyPr>
            <a:noAutofit/>
          </a:bodyPr>
          <a:lstStyle/>
          <a:p>
            <a:r>
              <a:rPr lang="de-DE"/>
              <a:t>Bild durch Klicken auf Symbol hinzufügen</a:t>
            </a:r>
            <a:endParaRPr lang="en-US"/>
          </a:p>
        </p:txBody>
      </p:sp>
      <p:sp>
        <p:nvSpPr>
          <p:cNvPr id="14" name="bg 10">
            <a:extLst>
              <a:ext uri="{FF2B5EF4-FFF2-40B4-BE49-F238E27FC236}">
                <a16:creationId xmlns:a16="http://schemas.microsoft.com/office/drawing/2014/main" id="{48CB112A-528E-D64F-7544-E0C32EC2F81E}"/>
              </a:ext>
            </a:extLst>
          </p:cNvPr>
          <p:cNvSpPr>
            <a:spLocks noGrp="1"/>
          </p:cNvSpPr>
          <p:nvPr>
            <p:ph type="body" idx="65" hasCustomPrompt="1"/>
          </p:nvPr>
        </p:nvSpPr>
        <p:spPr>
          <a:xfrm>
            <a:off x="9636000" y="3508377"/>
            <a:ext cx="2016000" cy="115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44" name="picture placeholder 10">
            <a:extLst>
              <a:ext uri="{FF2B5EF4-FFF2-40B4-BE49-F238E27FC236}">
                <a16:creationId xmlns:a16="http://schemas.microsoft.com/office/drawing/2014/main" id="{3415E750-564C-6C2E-8179-FB02127B1B27}"/>
              </a:ext>
            </a:extLst>
          </p:cNvPr>
          <p:cNvSpPr>
            <a:spLocks noGrp="1"/>
          </p:cNvSpPr>
          <p:nvPr>
            <p:ph type="pic" sz="quarter" idx="29"/>
          </p:nvPr>
        </p:nvSpPr>
        <p:spPr>
          <a:xfrm>
            <a:off x="9948700" y="3799130"/>
            <a:ext cx="1368000" cy="540000"/>
          </a:xfrm>
        </p:spPr>
        <p:txBody>
          <a:bodyPr>
            <a:noAutofit/>
          </a:bodyPr>
          <a:lstStyle/>
          <a:p>
            <a:r>
              <a:rPr lang="de-DE"/>
              <a:t>Bild durch Klicken auf Symbol hinzufügen</a:t>
            </a:r>
            <a:endParaRPr lang="en-US"/>
          </a:p>
        </p:txBody>
      </p:sp>
      <p:sp>
        <p:nvSpPr>
          <p:cNvPr id="13" name="bg 9">
            <a:extLst>
              <a:ext uri="{FF2B5EF4-FFF2-40B4-BE49-F238E27FC236}">
                <a16:creationId xmlns:a16="http://schemas.microsoft.com/office/drawing/2014/main" id="{3CFD6598-1C91-8EF1-5101-3626EEF85578}"/>
              </a:ext>
            </a:extLst>
          </p:cNvPr>
          <p:cNvSpPr>
            <a:spLocks noGrp="1"/>
          </p:cNvSpPr>
          <p:nvPr>
            <p:ph type="body" idx="64" hasCustomPrompt="1"/>
          </p:nvPr>
        </p:nvSpPr>
        <p:spPr>
          <a:xfrm>
            <a:off x="7362000" y="3508377"/>
            <a:ext cx="2016000" cy="115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46" name="picture placeholder 9">
            <a:extLst>
              <a:ext uri="{FF2B5EF4-FFF2-40B4-BE49-F238E27FC236}">
                <a16:creationId xmlns:a16="http://schemas.microsoft.com/office/drawing/2014/main" id="{EB0D8851-BDC9-F498-DD52-ED7CFE7E8008}"/>
              </a:ext>
            </a:extLst>
          </p:cNvPr>
          <p:cNvSpPr>
            <a:spLocks noGrp="1"/>
          </p:cNvSpPr>
          <p:nvPr>
            <p:ph type="pic" sz="quarter" idx="30"/>
          </p:nvPr>
        </p:nvSpPr>
        <p:spPr>
          <a:xfrm>
            <a:off x="7677525" y="3799130"/>
            <a:ext cx="1368000" cy="540000"/>
          </a:xfrm>
        </p:spPr>
        <p:txBody>
          <a:bodyPr>
            <a:noAutofit/>
          </a:bodyPr>
          <a:lstStyle/>
          <a:p>
            <a:r>
              <a:rPr lang="de-DE"/>
              <a:t>Bild durch Klicken auf Symbol hinzufügen</a:t>
            </a:r>
            <a:endParaRPr lang="en-US"/>
          </a:p>
        </p:txBody>
      </p:sp>
      <p:sp>
        <p:nvSpPr>
          <p:cNvPr id="24" name="bg 8">
            <a:extLst>
              <a:ext uri="{FF2B5EF4-FFF2-40B4-BE49-F238E27FC236}">
                <a16:creationId xmlns:a16="http://schemas.microsoft.com/office/drawing/2014/main" id="{50700239-BEBA-499D-6761-65168E3DA487}"/>
              </a:ext>
            </a:extLst>
          </p:cNvPr>
          <p:cNvSpPr>
            <a:spLocks noGrp="1"/>
          </p:cNvSpPr>
          <p:nvPr>
            <p:ph type="body" idx="68" hasCustomPrompt="1"/>
          </p:nvPr>
        </p:nvSpPr>
        <p:spPr>
          <a:xfrm>
            <a:off x="5088000" y="3508377"/>
            <a:ext cx="2016000" cy="115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48" name="picture placeholder 8">
            <a:extLst>
              <a:ext uri="{FF2B5EF4-FFF2-40B4-BE49-F238E27FC236}">
                <a16:creationId xmlns:a16="http://schemas.microsoft.com/office/drawing/2014/main" id="{B2560046-7EB6-BDC9-1F54-A3979746E08A}"/>
              </a:ext>
            </a:extLst>
          </p:cNvPr>
          <p:cNvSpPr>
            <a:spLocks noGrp="1"/>
          </p:cNvSpPr>
          <p:nvPr>
            <p:ph type="pic" sz="quarter" idx="31"/>
          </p:nvPr>
        </p:nvSpPr>
        <p:spPr>
          <a:xfrm>
            <a:off x="5406350" y="3799130"/>
            <a:ext cx="1368000" cy="540000"/>
          </a:xfrm>
        </p:spPr>
        <p:txBody>
          <a:bodyPr>
            <a:noAutofit/>
          </a:bodyPr>
          <a:lstStyle/>
          <a:p>
            <a:r>
              <a:rPr lang="de-DE"/>
              <a:t>Bild durch Klicken auf Symbol hinzufügen</a:t>
            </a:r>
            <a:endParaRPr lang="en-US"/>
          </a:p>
        </p:txBody>
      </p:sp>
      <p:sp>
        <p:nvSpPr>
          <p:cNvPr id="18" name="bg 7">
            <a:extLst>
              <a:ext uri="{FF2B5EF4-FFF2-40B4-BE49-F238E27FC236}">
                <a16:creationId xmlns:a16="http://schemas.microsoft.com/office/drawing/2014/main" id="{744DCB1D-24F9-4208-762C-3A575E6FF002}"/>
              </a:ext>
            </a:extLst>
          </p:cNvPr>
          <p:cNvSpPr>
            <a:spLocks noGrp="1"/>
          </p:cNvSpPr>
          <p:nvPr>
            <p:ph type="body" idx="67" hasCustomPrompt="1"/>
          </p:nvPr>
        </p:nvSpPr>
        <p:spPr>
          <a:xfrm>
            <a:off x="2814000" y="3508377"/>
            <a:ext cx="2016000" cy="115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50" name="picture placeholder7">
            <a:extLst>
              <a:ext uri="{FF2B5EF4-FFF2-40B4-BE49-F238E27FC236}">
                <a16:creationId xmlns:a16="http://schemas.microsoft.com/office/drawing/2014/main" id="{F76487B9-F4AF-E6A5-4443-382BCEB2EA6A}"/>
              </a:ext>
            </a:extLst>
          </p:cNvPr>
          <p:cNvSpPr>
            <a:spLocks noGrp="1"/>
          </p:cNvSpPr>
          <p:nvPr>
            <p:ph type="pic" sz="quarter" idx="32"/>
          </p:nvPr>
        </p:nvSpPr>
        <p:spPr>
          <a:xfrm>
            <a:off x="3135175" y="3799130"/>
            <a:ext cx="1368000" cy="540000"/>
          </a:xfrm>
        </p:spPr>
        <p:txBody>
          <a:bodyPr>
            <a:noAutofit/>
          </a:bodyPr>
          <a:lstStyle/>
          <a:p>
            <a:r>
              <a:rPr lang="de-DE"/>
              <a:t>Bild durch Klicken auf Symbol hinzufügen</a:t>
            </a:r>
            <a:endParaRPr lang="en-US"/>
          </a:p>
        </p:txBody>
      </p:sp>
      <p:sp>
        <p:nvSpPr>
          <p:cNvPr id="16" name="bg 6">
            <a:extLst>
              <a:ext uri="{FF2B5EF4-FFF2-40B4-BE49-F238E27FC236}">
                <a16:creationId xmlns:a16="http://schemas.microsoft.com/office/drawing/2014/main" id="{96C38C73-A108-3EF2-722F-04106FB538C5}"/>
              </a:ext>
            </a:extLst>
          </p:cNvPr>
          <p:cNvSpPr>
            <a:spLocks noGrp="1"/>
          </p:cNvSpPr>
          <p:nvPr>
            <p:ph type="body" idx="66" hasCustomPrompt="1"/>
          </p:nvPr>
        </p:nvSpPr>
        <p:spPr>
          <a:xfrm>
            <a:off x="540000" y="3508377"/>
            <a:ext cx="2016000" cy="115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52" name="picture placeholder 6">
            <a:extLst>
              <a:ext uri="{FF2B5EF4-FFF2-40B4-BE49-F238E27FC236}">
                <a16:creationId xmlns:a16="http://schemas.microsoft.com/office/drawing/2014/main" id="{37E67FF7-7E9E-2FC2-5FA7-5201E3B205ED}"/>
              </a:ext>
            </a:extLst>
          </p:cNvPr>
          <p:cNvSpPr>
            <a:spLocks noGrp="1"/>
          </p:cNvSpPr>
          <p:nvPr>
            <p:ph type="pic" sz="quarter" idx="33"/>
          </p:nvPr>
        </p:nvSpPr>
        <p:spPr>
          <a:xfrm>
            <a:off x="864000" y="3799130"/>
            <a:ext cx="1368000" cy="540000"/>
          </a:xfrm>
        </p:spPr>
        <p:txBody>
          <a:bodyPr>
            <a:noAutofit/>
          </a:bodyPr>
          <a:lstStyle/>
          <a:p>
            <a:r>
              <a:rPr lang="de-DE"/>
              <a:t>Bild durch Klicken auf Symbol hinzufügen</a:t>
            </a:r>
            <a:endParaRPr lang="en-US"/>
          </a:p>
        </p:txBody>
      </p:sp>
      <p:sp>
        <p:nvSpPr>
          <p:cNvPr id="11" name="bg 5">
            <a:extLst>
              <a:ext uri="{FF2B5EF4-FFF2-40B4-BE49-F238E27FC236}">
                <a16:creationId xmlns:a16="http://schemas.microsoft.com/office/drawing/2014/main" id="{6DCDBA46-AEB2-F81E-57E9-9C1C78EEB8AB}"/>
              </a:ext>
            </a:extLst>
          </p:cNvPr>
          <p:cNvSpPr>
            <a:spLocks noGrp="1"/>
          </p:cNvSpPr>
          <p:nvPr>
            <p:ph type="body" idx="63" hasCustomPrompt="1"/>
          </p:nvPr>
        </p:nvSpPr>
        <p:spPr>
          <a:xfrm>
            <a:off x="9636000" y="2008350"/>
            <a:ext cx="2016000" cy="115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7" name="picture placeholder 5">
            <a:extLst>
              <a:ext uri="{FF2B5EF4-FFF2-40B4-BE49-F238E27FC236}">
                <a16:creationId xmlns:a16="http://schemas.microsoft.com/office/drawing/2014/main" id="{7CD0061E-2BC7-26C2-D8B4-92212BE5823E}"/>
              </a:ext>
            </a:extLst>
          </p:cNvPr>
          <p:cNvSpPr>
            <a:spLocks noGrp="1"/>
          </p:cNvSpPr>
          <p:nvPr>
            <p:ph type="pic" sz="quarter" idx="24"/>
          </p:nvPr>
        </p:nvSpPr>
        <p:spPr>
          <a:xfrm>
            <a:off x="9948700" y="2273254"/>
            <a:ext cx="1368000" cy="540000"/>
          </a:xfrm>
        </p:spPr>
        <p:txBody>
          <a:bodyPr>
            <a:noAutofit/>
          </a:bodyPr>
          <a:lstStyle/>
          <a:p>
            <a:r>
              <a:rPr lang="de-DE"/>
              <a:t>Bild durch Klicken auf Symbol hinzufügen</a:t>
            </a:r>
            <a:endParaRPr lang="en-US"/>
          </a:p>
        </p:txBody>
      </p:sp>
      <p:sp>
        <p:nvSpPr>
          <p:cNvPr id="10" name="bg 4">
            <a:extLst>
              <a:ext uri="{FF2B5EF4-FFF2-40B4-BE49-F238E27FC236}">
                <a16:creationId xmlns:a16="http://schemas.microsoft.com/office/drawing/2014/main" id="{31F8E4D7-B534-0FBC-C9CF-2422A6E3DF27}"/>
              </a:ext>
            </a:extLst>
          </p:cNvPr>
          <p:cNvSpPr>
            <a:spLocks noGrp="1"/>
          </p:cNvSpPr>
          <p:nvPr>
            <p:ph type="body" idx="62" hasCustomPrompt="1"/>
          </p:nvPr>
        </p:nvSpPr>
        <p:spPr>
          <a:xfrm>
            <a:off x="7362000" y="2008350"/>
            <a:ext cx="2016000" cy="115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30" name="picture placeholder 4">
            <a:extLst>
              <a:ext uri="{FF2B5EF4-FFF2-40B4-BE49-F238E27FC236}">
                <a16:creationId xmlns:a16="http://schemas.microsoft.com/office/drawing/2014/main" id="{AB01EAA0-DDCA-971B-4B4E-DE2A18542BA1}"/>
              </a:ext>
            </a:extLst>
          </p:cNvPr>
          <p:cNvSpPr>
            <a:spLocks noGrp="1"/>
          </p:cNvSpPr>
          <p:nvPr>
            <p:ph type="pic" sz="quarter" idx="25"/>
          </p:nvPr>
        </p:nvSpPr>
        <p:spPr>
          <a:xfrm>
            <a:off x="7677525" y="2273254"/>
            <a:ext cx="1368000" cy="540000"/>
          </a:xfrm>
        </p:spPr>
        <p:txBody>
          <a:bodyPr>
            <a:noAutofit/>
          </a:bodyPr>
          <a:lstStyle/>
          <a:p>
            <a:r>
              <a:rPr lang="de-DE"/>
              <a:t>Bild durch Klicken auf Symbol hinzufügen</a:t>
            </a:r>
            <a:endParaRPr lang="en-US"/>
          </a:p>
        </p:txBody>
      </p:sp>
      <p:sp>
        <p:nvSpPr>
          <p:cNvPr id="9" name="bg 3">
            <a:extLst>
              <a:ext uri="{FF2B5EF4-FFF2-40B4-BE49-F238E27FC236}">
                <a16:creationId xmlns:a16="http://schemas.microsoft.com/office/drawing/2014/main" id="{40E5FDBF-BA47-8F74-6BC8-E5992999A106}"/>
              </a:ext>
            </a:extLst>
          </p:cNvPr>
          <p:cNvSpPr>
            <a:spLocks noGrp="1"/>
          </p:cNvSpPr>
          <p:nvPr>
            <p:ph type="body" idx="61" hasCustomPrompt="1"/>
          </p:nvPr>
        </p:nvSpPr>
        <p:spPr>
          <a:xfrm>
            <a:off x="5088000" y="2008350"/>
            <a:ext cx="2016000" cy="115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34" name="picture placeholder 3">
            <a:extLst>
              <a:ext uri="{FF2B5EF4-FFF2-40B4-BE49-F238E27FC236}">
                <a16:creationId xmlns:a16="http://schemas.microsoft.com/office/drawing/2014/main" id="{E26C8068-7A2A-FA29-70EA-420517E4EF2F}"/>
              </a:ext>
            </a:extLst>
          </p:cNvPr>
          <p:cNvSpPr>
            <a:spLocks noGrp="1"/>
          </p:cNvSpPr>
          <p:nvPr>
            <p:ph type="pic" sz="quarter" idx="26"/>
          </p:nvPr>
        </p:nvSpPr>
        <p:spPr>
          <a:xfrm>
            <a:off x="5406350" y="2273254"/>
            <a:ext cx="1368000" cy="540000"/>
          </a:xfrm>
        </p:spPr>
        <p:txBody>
          <a:bodyPr>
            <a:noAutofit/>
          </a:bodyPr>
          <a:lstStyle/>
          <a:p>
            <a:r>
              <a:rPr lang="de-DE"/>
              <a:t>Bild durch Klicken auf Symbol hinzufügen</a:t>
            </a:r>
            <a:endParaRPr lang="en-US"/>
          </a:p>
        </p:txBody>
      </p:sp>
      <p:sp>
        <p:nvSpPr>
          <p:cNvPr id="8" name="bg 2">
            <a:extLst>
              <a:ext uri="{FF2B5EF4-FFF2-40B4-BE49-F238E27FC236}">
                <a16:creationId xmlns:a16="http://schemas.microsoft.com/office/drawing/2014/main" id="{D9B6B73D-3F1B-0066-97B9-572BBE608CF4}"/>
              </a:ext>
            </a:extLst>
          </p:cNvPr>
          <p:cNvSpPr>
            <a:spLocks noGrp="1"/>
          </p:cNvSpPr>
          <p:nvPr>
            <p:ph type="body" idx="60" hasCustomPrompt="1"/>
          </p:nvPr>
        </p:nvSpPr>
        <p:spPr>
          <a:xfrm>
            <a:off x="2814000" y="2008350"/>
            <a:ext cx="2016000" cy="115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36" name="picture placeholder 2">
            <a:extLst>
              <a:ext uri="{FF2B5EF4-FFF2-40B4-BE49-F238E27FC236}">
                <a16:creationId xmlns:a16="http://schemas.microsoft.com/office/drawing/2014/main" id="{52A6AD52-E1BF-37E8-9BBE-0A801AE80C58}"/>
              </a:ext>
            </a:extLst>
          </p:cNvPr>
          <p:cNvSpPr>
            <a:spLocks noGrp="1"/>
          </p:cNvSpPr>
          <p:nvPr>
            <p:ph type="pic" sz="quarter" idx="27"/>
          </p:nvPr>
        </p:nvSpPr>
        <p:spPr>
          <a:xfrm>
            <a:off x="3135175" y="2273254"/>
            <a:ext cx="1368000" cy="540000"/>
          </a:xfrm>
        </p:spPr>
        <p:txBody>
          <a:bodyPr>
            <a:noAutofit/>
          </a:bodyPr>
          <a:lstStyle/>
          <a:p>
            <a:r>
              <a:rPr lang="de-DE"/>
              <a:t>Bild durch Klicken auf Symbol hinzufügen</a:t>
            </a:r>
            <a:endParaRPr lang="en-US"/>
          </a:p>
        </p:txBody>
      </p:sp>
      <p:sp>
        <p:nvSpPr>
          <p:cNvPr id="6" name="bg 1">
            <a:extLst>
              <a:ext uri="{FF2B5EF4-FFF2-40B4-BE49-F238E27FC236}">
                <a16:creationId xmlns:a16="http://schemas.microsoft.com/office/drawing/2014/main" id="{DB4F04FE-E736-5194-E42B-AB77359C4318}"/>
              </a:ext>
            </a:extLst>
          </p:cNvPr>
          <p:cNvSpPr>
            <a:spLocks noGrp="1"/>
          </p:cNvSpPr>
          <p:nvPr>
            <p:ph type="body" idx="59" hasCustomPrompt="1"/>
          </p:nvPr>
        </p:nvSpPr>
        <p:spPr>
          <a:xfrm>
            <a:off x="540000" y="2008350"/>
            <a:ext cx="2016000" cy="115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42" name="picture placeholder 1">
            <a:extLst>
              <a:ext uri="{FF2B5EF4-FFF2-40B4-BE49-F238E27FC236}">
                <a16:creationId xmlns:a16="http://schemas.microsoft.com/office/drawing/2014/main" id="{E3468FD3-7243-81CD-BC4B-74253980B3D2}"/>
              </a:ext>
            </a:extLst>
          </p:cNvPr>
          <p:cNvSpPr>
            <a:spLocks noGrp="1"/>
          </p:cNvSpPr>
          <p:nvPr>
            <p:ph type="pic" sz="quarter" idx="28"/>
          </p:nvPr>
        </p:nvSpPr>
        <p:spPr>
          <a:xfrm>
            <a:off x="864000" y="2273254"/>
            <a:ext cx="1368000" cy="540000"/>
          </a:xfrm>
        </p:spPr>
        <p:txBody>
          <a:bodyPr>
            <a:noAutofit/>
          </a:bodyPr>
          <a:lstStyle/>
          <a:p>
            <a:r>
              <a:rPr lang="de-DE"/>
              <a:t>Bild durch Klicken auf Symbol hinzufügen</a:t>
            </a:r>
            <a:endParaRPr lang="en-US"/>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458179CF-D7D7-459E-377F-D528CB0C38F5}"/>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222719271"/>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  034a : 4 gradients : 12 logowall">
    <p:spTree>
      <p:nvGrpSpPr>
        <p:cNvPr id="1" name=""/>
        <p:cNvGrpSpPr/>
        <p:nvPr/>
      </p:nvGrpSpPr>
      <p:grpSpPr>
        <a:xfrm>
          <a:off x="0" y="0"/>
          <a:ext cx="0" cy="0"/>
          <a:chOff x="0" y="0"/>
          <a:chExt cx="0" cy="0"/>
        </a:xfrm>
      </p:grpSpPr>
      <p:sp>
        <p:nvSpPr>
          <p:cNvPr id="10" name="slide number">
            <a:extLst>
              <a:ext uri="{FF2B5EF4-FFF2-40B4-BE49-F238E27FC236}">
                <a16:creationId xmlns:a16="http://schemas.microsoft.com/office/drawing/2014/main" id="{B7DF5438-CE54-DB76-7519-6B492C35319C}"/>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BF49D278-F4EF-105E-D394-837DBAD3E5EA}"/>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02E6CEDB-A8CD-4A71-1981-445288A0659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34" name="shadow 12">
            <a:extLst>
              <a:ext uri="{FF2B5EF4-FFF2-40B4-BE49-F238E27FC236}">
                <a16:creationId xmlns:a16="http://schemas.microsoft.com/office/drawing/2014/main" id="{7BA87915-76A6-AA9E-8FEC-843B267F996A}"/>
              </a:ext>
            </a:extLst>
          </p:cNvPr>
          <p:cNvSpPr txBox="1"/>
          <p:nvPr/>
        </p:nvSpPr>
        <p:spPr bwMode="auto">
          <a:xfrm>
            <a:off x="10296000" y="5149787"/>
            <a:ext cx="1332000" cy="792000"/>
          </a:xfrm>
          <a:prstGeom prst="roundRect">
            <a:avLst>
              <a:gd name="adj" fmla="val 7891"/>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97" name="logo placeholder 12">
            <a:extLst>
              <a:ext uri="{FF2B5EF4-FFF2-40B4-BE49-F238E27FC236}">
                <a16:creationId xmlns:a16="http://schemas.microsoft.com/office/drawing/2014/main" id="{1125ADF2-7F3B-4366-BF76-9281D8AFE84D}"/>
              </a:ext>
            </a:extLst>
          </p:cNvPr>
          <p:cNvSpPr>
            <a:spLocks noGrp="1"/>
          </p:cNvSpPr>
          <p:nvPr>
            <p:ph type="pic" sz="quarter" idx="41"/>
          </p:nvPr>
        </p:nvSpPr>
        <p:spPr>
          <a:xfrm>
            <a:off x="10567138" y="5325111"/>
            <a:ext cx="816000" cy="437143"/>
          </a:xfrm>
        </p:spPr>
        <p:txBody>
          <a:bodyPr>
            <a:noAutofit/>
          </a:bodyPr>
          <a:lstStyle/>
          <a:p>
            <a:r>
              <a:rPr lang="de-DE"/>
              <a:t>Bild durch Klicken auf Symbol hinzufügen</a:t>
            </a:r>
            <a:endParaRPr lang="en-US"/>
          </a:p>
        </p:txBody>
      </p:sp>
      <p:sp>
        <p:nvSpPr>
          <p:cNvPr id="31" name="shadow 11">
            <a:extLst>
              <a:ext uri="{FF2B5EF4-FFF2-40B4-BE49-F238E27FC236}">
                <a16:creationId xmlns:a16="http://schemas.microsoft.com/office/drawing/2014/main" id="{0AA790C1-B2DE-E6E1-5BDD-AD1AC77D6DBA}"/>
              </a:ext>
            </a:extLst>
          </p:cNvPr>
          <p:cNvSpPr txBox="1"/>
          <p:nvPr/>
        </p:nvSpPr>
        <p:spPr bwMode="auto">
          <a:xfrm>
            <a:off x="8596076" y="5149787"/>
            <a:ext cx="1332000" cy="792000"/>
          </a:xfrm>
          <a:prstGeom prst="roundRect">
            <a:avLst>
              <a:gd name="adj" fmla="val 7891"/>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99" name="logo placeholder 11">
            <a:extLst>
              <a:ext uri="{FF2B5EF4-FFF2-40B4-BE49-F238E27FC236}">
                <a16:creationId xmlns:a16="http://schemas.microsoft.com/office/drawing/2014/main" id="{4B193DB4-7BE9-7CD2-2779-83928D859BAE}"/>
              </a:ext>
            </a:extLst>
          </p:cNvPr>
          <p:cNvSpPr>
            <a:spLocks noGrp="1"/>
          </p:cNvSpPr>
          <p:nvPr>
            <p:ph type="pic" sz="quarter" idx="42"/>
          </p:nvPr>
        </p:nvSpPr>
        <p:spPr>
          <a:xfrm>
            <a:off x="8843113" y="5325111"/>
            <a:ext cx="816000" cy="437143"/>
          </a:xfrm>
        </p:spPr>
        <p:txBody>
          <a:bodyPr>
            <a:noAutofit/>
          </a:bodyPr>
          <a:lstStyle/>
          <a:p>
            <a:r>
              <a:rPr lang="de-DE"/>
              <a:t>Bild durch Klicken auf Symbol hinzufügen</a:t>
            </a:r>
            <a:endParaRPr lang="en-US"/>
          </a:p>
        </p:txBody>
      </p:sp>
      <p:sp>
        <p:nvSpPr>
          <p:cNvPr id="30" name="shadow 10">
            <a:extLst>
              <a:ext uri="{FF2B5EF4-FFF2-40B4-BE49-F238E27FC236}">
                <a16:creationId xmlns:a16="http://schemas.microsoft.com/office/drawing/2014/main" id="{C9348939-0276-960F-408F-62ABE12ABB2E}"/>
              </a:ext>
            </a:extLst>
          </p:cNvPr>
          <p:cNvSpPr txBox="1"/>
          <p:nvPr/>
        </p:nvSpPr>
        <p:spPr bwMode="auto">
          <a:xfrm>
            <a:off x="6896151" y="5149787"/>
            <a:ext cx="1332000" cy="792000"/>
          </a:xfrm>
          <a:prstGeom prst="roundRect">
            <a:avLst>
              <a:gd name="adj" fmla="val 7891"/>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101" name="logo placeholder 10">
            <a:extLst>
              <a:ext uri="{FF2B5EF4-FFF2-40B4-BE49-F238E27FC236}">
                <a16:creationId xmlns:a16="http://schemas.microsoft.com/office/drawing/2014/main" id="{3CBFFEC2-79F3-CD75-DAF9-0389F3564703}"/>
              </a:ext>
            </a:extLst>
          </p:cNvPr>
          <p:cNvSpPr>
            <a:spLocks noGrp="1"/>
          </p:cNvSpPr>
          <p:nvPr>
            <p:ph type="pic" sz="quarter" idx="43"/>
          </p:nvPr>
        </p:nvSpPr>
        <p:spPr>
          <a:xfrm>
            <a:off x="7157188" y="5325111"/>
            <a:ext cx="816000" cy="437143"/>
          </a:xfrm>
        </p:spPr>
        <p:txBody>
          <a:bodyPr>
            <a:noAutofit/>
          </a:bodyPr>
          <a:lstStyle/>
          <a:p>
            <a:r>
              <a:rPr lang="de-DE"/>
              <a:t>Bild durch Klicken auf Symbol hinzufügen</a:t>
            </a:r>
            <a:endParaRPr lang="en-US"/>
          </a:p>
        </p:txBody>
      </p:sp>
      <p:sp>
        <p:nvSpPr>
          <p:cNvPr id="27" name="shadow 9">
            <a:extLst>
              <a:ext uri="{FF2B5EF4-FFF2-40B4-BE49-F238E27FC236}">
                <a16:creationId xmlns:a16="http://schemas.microsoft.com/office/drawing/2014/main" id="{448DD996-4C79-0B11-8386-F8FE0B5E8ED7}"/>
              </a:ext>
            </a:extLst>
          </p:cNvPr>
          <p:cNvSpPr txBox="1"/>
          <p:nvPr/>
        </p:nvSpPr>
        <p:spPr bwMode="auto">
          <a:xfrm>
            <a:off x="10296000" y="4000022"/>
            <a:ext cx="1332000" cy="792000"/>
          </a:xfrm>
          <a:prstGeom prst="roundRect">
            <a:avLst>
              <a:gd name="adj" fmla="val 7891"/>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89" name="logo placeholder 9">
            <a:extLst>
              <a:ext uri="{FF2B5EF4-FFF2-40B4-BE49-F238E27FC236}">
                <a16:creationId xmlns:a16="http://schemas.microsoft.com/office/drawing/2014/main" id="{89CFB8F1-963E-9795-2AB6-37335219BD87}"/>
              </a:ext>
            </a:extLst>
          </p:cNvPr>
          <p:cNvSpPr>
            <a:spLocks noGrp="1"/>
          </p:cNvSpPr>
          <p:nvPr>
            <p:ph type="pic" sz="quarter" idx="37"/>
          </p:nvPr>
        </p:nvSpPr>
        <p:spPr>
          <a:xfrm>
            <a:off x="10567138" y="4169323"/>
            <a:ext cx="816000" cy="437143"/>
          </a:xfrm>
        </p:spPr>
        <p:txBody>
          <a:bodyPr>
            <a:noAutofit/>
          </a:bodyPr>
          <a:lstStyle/>
          <a:p>
            <a:r>
              <a:rPr lang="de-DE"/>
              <a:t>Bild durch Klicken auf Symbol hinzufügen</a:t>
            </a:r>
            <a:endParaRPr lang="en-US"/>
          </a:p>
        </p:txBody>
      </p:sp>
      <p:sp>
        <p:nvSpPr>
          <p:cNvPr id="22" name="shadow 8">
            <a:extLst>
              <a:ext uri="{FF2B5EF4-FFF2-40B4-BE49-F238E27FC236}">
                <a16:creationId xmlns:a16="http://schemas.microsoft.com/office/drawing/2014/main" id="{03633C2A-6A19-6F8D-E23E-5F30FC11CBFB}"/>
              </a:ext>
            </a:extLst>
          </p:cNvPr>
          <p:cNvSpPr txBox="1"/>
          <p:nvPr/>
        </p:nvSpPr>
        <p:spPr bwMode="auto">
          <a:xfrm>
            <a:off x="8596076" y="4000022"/>
            <a:ext cx="1332000" cy="792000"/>
          </a:xfrm>
          <a:prstGeom prst="roundRect">
            <a:avLst>
              <a:gd name="adj" fmla="val 7891"/>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91" name="logo placeholder 8">
            <a:extLst>
              <a:ext uri="{FF2B5EF4-FFF2-40B4-BE49-F238E27FC236}">
                <a16:creationId xmlns:a16="http://schemas.microsoft.com/office/drawing/2014/main" id="{D82004BE-7897-ED19-E2FA-A6EB83D50B21}"/>
              </a:ext>
            </a:extLst>
          </p:cNvPr>
          <p:cNvSpPr>
            <a:spLocks noGrp="1"/>
          </p:cNvSpPr>
          <p:nvPr>
            <p:ph type="pic" sz="quarter" idx="38"/>
          </p:nvPr>
        </p:nvSpPr>
        <p:spPr>
          <a:xfrm>
            <a:off x="8843113" y="4169323"/>
            <a:ext cx="816000" cy="437143"/>
          </a:xfrm>
        </p:spPr>
        <p:txBody>
          <a:bodyPr>
            <a:noAutofit/>
          </a:bodyPr>
          <a:lstStyle/>
          <a:p>
            <a:r>
              <a:rPr lang="de-DE"/>
              <a:t>Bild durch Klicken auf Symbol hinzufügen</a:t>
            </a:r>
            <a:endParaRPr lang="en-US"/>
          </a:p>
        </p:txBody>
      </p:sp>
      <p:sp>
        <p:nvSpPr>
          <p:cNvPr id="18" name="shadow 7">
            <a:extLst>
              <a:ext uri="{FF2B5EF4-FFF2-40B4-BE49-F238E27FC236}">
                <a16:creationId xmlns:a16="http://schemas.microsoft.com/office/drawing/2014/main" id="{3DC9CA55-525B-79E7-E574-5A2569975ABC}"/>
              </a:ext>
            </a:extLst>
          </p:cNvPr>
          <p:cNvSpPr txBox="1"/>
          <p:nvPr/>
        </p:nvSpPr>
        <p:spPr bwMode="auto">
          <a:xfrm>
            <a:off x="6896151" y="4000022"/>
            <a:ext cx="1332000" cy="792000"/>
          </a:xfrm>
          <a:prstGeom prst="roundRect">
            <a:avLst>
              <a:gd name="adj" fmla="val 7891"/>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93" name="logo placeholder 7">
            <a:extLst>
              <a:ext uri="{FF2B5EF4-FFF2-40B4-BE49-F238E27FC236}">
                <a16:creationId xmlns:a16="http://schemas.microsoft.com/office/drawing/2014/main" id="{141E863E-D86F-4D0F-02BA-35830ADD0E04}"/>
              </a:ext>
            </a:extLst>
          </p:cNvPr>
          <p:cNvSpPr>
            <a:spLocks noGrp="1"/>
          </p:cNvSpPr>
          <p:nvPr>
            <p:ph type="pic" sz="quarter" idx="39"/>
          </p:nvPr>
        </p:nvSpPr>
        <p:spPr>
          <a:xfrm>
            <a:off x="7157188" y="4169323"/>
            <a:ext cx="816000" cy="437143"/>
          </a:xfrm>
        </p:spPr>
        <p:txBody>
          <a:bodyPr>
            <a:noAutofit/>
          </a:bodyPr>
          <a:lstStyle/>
          <a:p>
            <a:r>
              <a:rPr lang="de-DE"/>
              <a:t>Bild durch Klicken auf Symbol hinzufügen</a:t>
            </a:r>
            <a:endParaRPr lang="en-US"/>
          </a:p>
        </p:txBody>
      </p:sp>
      <p:sp>
        <p:nvSpPr>
          <p:cNvPr id="8" name="shadow 6">
            <a:extLst>
              <a:ext uri="{FF2B5EF4-FFF2-40B4-BE49-F238E27FC236}">
                <a16:creationId xmlns:a16="http://schemas.microsoft.com/office/drawing/2014/main" id="{745E4B94-5D5A-A08F-6BFF-191ADAADC2B9}"/>
              </a:ext>
            </a:extLst>
          </p:cNvPr>
          <p:cNvSpPr txBox="1"/>
          <p:nvPr/>
        </p:nvSpPr>
        <p:spPr bwMode="auto">
          <a:xfrm>
            <a:off x="10296000" y="2876072"/>
            <a:ext cx="1332000" cy="792000"/>
          </a:xfrm>
          <a:prstGeom prst="roundRect">
            <a:avLst>
              <a:gd name="adj" fmla="val 7891"/>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81" name="logo placeholder 6">
            <a:extLst>
              <a:ext uri="{FF2B5EF4-FFF2-40B4-BE49-F238E27FC236}">
                <a16:creationId xmlns:a16="http://schemas.microsoft.com/office/drawing/2014/main" id="{2742F88B-F2B8-3938-AEFA-13FAD75C5CB4}"/>
              </a:ext>
            </a:extLst>
          </p:cNvPr>
          <p:cNvSpPr>
            <a:spLocks noGrp="1"/>
          </p:cNvSpPr>
          <p:nvPr>
            <p:ph type="pic" sz="quarter" idx="33"/>
          </p:nvPr>
        </p:nvSpPr>
        <p:spPr>
          <a:xfrm>
            <a:off x="10567138" y="3050750"/>
            <a:ext cx="816000" cy="437143"/>
          </a:xfrm>
        </p:spPr>
        <p:txBody>
          <a:bodyPr>
            <a:noAutofit/>
          </a:bodyPr>
          <a:lstStyle/>
          <a:p>
            <a:r>
              <a:rPr lang="de-DE"/>
              <a:t>Bild durch Klicken auf Symbol hinzufügen</a:t>
            </a:r>
            <a:endParaRPr lang="en-US"/>
          </a:p>
        </p:txBody>
      </p:sp>
      <p:sp>
        <p:nvSpPr>
          <p:cNvPr id="7" name="shadow 5">
            <a:extLst>
              <a:ext uri="{FF2B5EF4-FFF2-40B4-BE49-F238E27FC236}">
                <a16:creationId xmlns:a16="http://schemas.microsoft.com/office/drawing/2014/main" id="{40983ABE-EDDB-721C-84BD-AD4C6E18443A}"/>
              </a:ext>
            </a:extLst>
          </p:cNvPr>
          <p:cNvSpPr txBox="1"/>
          <p:nvPr/>
        </p:nvSpPr>
        <p:spPr bwMode="auto">
          <a:xfrm>
            <a:off x="8596076" y="2876072"/>
            <a:ext cx="1332000" cy="792000"/>
          </a:xfrm>
          <a:prstGeom prst="roundRect">
            <a:avLst>
              <a:gd name="adj" fmla="val 7891"/>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83" name="logo placeholder 5">
            <a:extLst>
              <a:ext uri="{FF2B5EF4-FFF2-40B4-BE49-F238E27FC236}">
                <a16:creationId xmlns:a16="http://schemas.microsoft.com/office/drawing/2014/main" id="{05150DB6-4095-E54D-BF32-6D2966FB69E8}"/>
              </a:ext>
            </a:extLst>
          </p:cNvPr>
          <p:cNvSpPr>
            <a:spLocks noGrp="1"/>
          </p:cNvSpPr>
          <p:nvPr>
            <p:ph type="pic" sz="quarter" idx="34"/>
          </p:nvPr>
        </p:nvSpPr>
        <p:spPr>
          <a:xfrm>
            <a:off x="8843113" y="3050750"/>
            <a:ext cx="816000" cy="437143"/>
          </a:xfrm>
        </p:spPr>
        <p:txBody>
          <a:bodyPr>
            <a:noAutofit/>
          </a:bodyPr>
          <a:lstStyle/>
          <a:p>
            <a:r>
              <a:rPr lang="de-DE"/>
              <a:t>Bild durch Klicken auf Symbol hinzufügen</a:t>
            </a:r>
            <a:endParaRPr lang="en-US"/>
          </a:p>
        </p:txBody>
      </p:sp>
      <p:sp>
        <p:nvSpPr>
          <p:cNvPr id="6" name="shadow 4">
            <a:extLst>
              <a:ext uri="{FF2B5EF4-FFF2-40B4-BE49-F238E27FC236}">
                <a16:creationId xmlns:a16="http://schemas.microsoft.com/office/drawing/2014/main" id="{3D534717-DB4D-58B9-12F4-DBA44E24BFF9}"/>
              </a:ext>
            </a:extLst>
          </p:cNvPr>
          <p:cNvSpPr txBox="1"/>
          <p:nvPr/>
        </p:nvSpPr>
        <p:spPr bwMode="auto">
          <a:xfrm>
            <a:off x="6896151" y="2876072"/>
            <a:ext cx="1332000" cy="792000"/>
          </a:xfrm>
          <a:prstGeom prst="roundRect">
            <a:avLst>
              <a:gd name="adj" fmla="val 7891"/>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85" name="logo placeholder 4">
            <a:extLst>
              <a:ext uri="{FF2B5EF4-FFF2-40B4-BE49-F238E27FC236}">
                <a16:creationId xmlns:a16="http://schemas.microsoft.com/office/drawing/2014/main" id="{D30CCF7D-673C-55D3-A468-D97F87EE006B}"/>
              </a:ext>
            </a:extLst>
          </p:cNvPr>
          <p:cNvSpPr>
            <a:spLocks noGrp="1"/>
          </p:cNvSpPr>
          <p:nvPr>
            <p:ph type="pic" sz="quarter" idx="35"/>
          </p:nvPr>
        </p:nvSpPr>
        <p:spPr>
          <a:xfrm>
            <a:off x="7157188" y="3050750"/>
            <a:ext cx="816000" cy="437143"/>
          </a:xfrm>
        </p:spPr>
        <p:txBody>
          <a:bodyPr>
            <a:noAutofit/>
          </a:bodyPr>
          <a:lstStyle/>
          <a:p>
            <a:r>
              <a:rPr lang="de-DE"/>
              <a:t>Bild durch Klicken auf Symbol hinzufügen</a:t>
            </a:r>
            <a:endParaRPr lang="en-US"/>
          </a:p>
        </p:txBody>
      </p:sp>
      <p:sp>
        <p:nvSpPr>
          <p:cNvPr id="5" name="shadow 3">
            <a:extLst>
              <a:ext uri="{FF2B5EF4-FFF2-40B4-BE49-F238E27FC236}">
                <a16:creationId xmlns:a16="http://schemas.microsoft.com/office/drawing/2014/main" id="{B8AEA00C-98DA-2D82-209F-6F35246301C2}"/>
              </a:ext>
            </a:extLst>
          </p:cNvPr>
          <p:cNvSpPr txBox="1"/>
          <p:nvPr/>
        </p:nvSpPr>
        <p:spPr bwMode="auto">
          <a:xfrm>
            <a:off x="10296000" y="1733072"/>
            <a:ext cx="1332000" cy="792000"/>
          </a:xfrm>
          <a:prstGeom prst="roundRect">
            <a:avLst>
              <a:gd name="adj" fmla="val 7891"/>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43" name="logo placeholder 3">
            <a:extLst>
              <a:ext uri="{FF2B5EF4-FFF2-40B4-BE49-F238E27FC236}">
                <a16:creationId xmlns:a16="http://schemas.microsoft.com/office/drawing/2014/main" id="{35EEE6D8-D74C-90B6-18D0-58976CD7A558}"/>
              </a:ext>
            </a:extLst>
          </p:cNvPr>
          <p:cNvSpPr>
            <a:spLocks noGrp="1"/>
          </p:cNvSpPr>
          <p:nvPr>
            <p:ph type="pic" sz="quarter" idx="29"/>
          </p:nvPr>
        </p:nvSpPr>
        <p:spPr>
          <a:xfrm>
            <a:off x="10567138" y="1901016"/>
            <a:ext cx="816000" cy="437143"/>
          </a:xfrm>
        </p:spPr>
        <p:txBody>
          <a:bodyPr>
            <a:noAutofit/>
          </a:bodyPr>
          <a:lstStyle/>
          <a:p>
            <a:r>
              <a:rPr lang="de-DE"/>
              <a:t>Bild durch Klicken auf Symbol hinzufügen</a:t>
            </a:r>
            <a:endParaRPr lang="en-US"/>
          </a:p>
        </p:txBody>
      </p:sp>
      <p:sp>
        <p:nvSpPr>
          <p:cNvPr id="3" name="shadow 2">
            <a:extLst>
              <a:ext uri="{FF2B5EF4-FFF2-40B4-BE49-F238E27FC236}">
                <a16:creationId xmlns:a16="http://schemas.microsoft.com/office/drawing/2014/main" id="{DFE9FFCC-55C3-8FB5-98B7-133EE47E5A14}"/>
              </a:ext>
            </a:extLst>
          </p:cNvPr>
          <p:cNvSpPr txBox="1"/>
          <p:nvPr/>
        </p:nvSpPr>
        <p:spPr bwMode="auto">
          <a:xfrm>
            <a:off x="8596076" y="1733072"/>
            <a:ext cx="1332000" cy="792000"/>
          </a:xfrm>
          <a:prstGeom prst="roundRect">
            <a:avLst>
              <a:gd name="adj" fmla="val 7891"/>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75" name="logo placeholder 2">
            <a:extLst>
              <a:ext uri="{FF2B5EF4-FFF2-40B4-BE49-F238E27FC236}">
                <a16:creationId xmlns:a16="http://schemas.microsoft.com/office/drawing/2014/main" id="{7E3449CE-B4DE-5C1A-9668-C6F8F9E0DD38}"/>
              </a:ext>
            </a:extLst>
          </p:cNvPr>
          <p:cNvSpPr>
            <a:spLocks noGrp="1"/>
          </p:cNvSpPr>
          <p:nvPr>
            <p:ph type="pic" sz="quarter" idx="30"/>
          </p:nvPr>
        </p:nvSpPr>
        <p:spPr>
          <a:xfrm>
            <a:off x="8843113" y="1901016"/>
            <a:ext cx="816000" cy="437143"/>
          </a:xfrm>
        </p:spPr>
        <p:txBody>
          <a:bodyPr>
            <a:noAutofit/>
          </a:bodyPr>
          <a:lstStyle/>
          <a:p>
            <a:r>
              <a:rPr lang="de-DE"/>
              <a:t>Bild durch Klicken auf Symbol hinzufügen</a:t>
            </a:r>
            <a:endParaRPr lang="en-US"/>
          </a:p>
        </p:txBody>
      </p:sp>
      <p:sp>
        <p:nvSpPr>
          <p:cNvPr id="2" name="shadow 1">
            <a:extLst>
              <a:ext uri="{FF2B5EF4-FFF2-40B4-BE49-F238E27FC236}">
                <a16:creationId xmlns:a16="http://schemas.microsoft.com/office/drawing/2014/main" id="{0C42C38B-EEB0-7C4F-8D02-3A4CCB70485D}"/>
              </a:ext>
            </a:extLst>
          </p:cNvPr>
          <p:cNvSpPr txBox="1"/>
          <p:nvPr/>
        </p:nvSpPr>
        <p:spPr bwMode="auto">
          <a:xfrm>
            <a:off x="6896151" y="1733072"/>
            <a:ext cx="1332000" cy="792000"/>
          </a:xfrm>
          <a:prstGeom prst="roundRect">
            <a:avLst>
              <a:gd name="adj" fmla="val 7891"/>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dirty="0"/>
          </a:p>
        </p:txBody>
      </p:sp>
      <p:sp>
        <p:nvSpPr>
          <p:cNvPr id="77" name="logo placeholder 1">
            <a:extLst>
              <a:ext uri="{FF2B5EF4-FFF2-40B4-BE49-F238E27FC236}">
                <a16:creationId xmlns:a16="http://schemas.microsoft.com/office/drawing/2014/main" id="{D34CE9B8-818E-3DDB-F209-C7A33E0FDB0F}"/>
              </a:ext>
            </a:extLst>
          </p:cNvPr>
          <p:cNvSpPr>
            <a:spLocks noGrp="1"/>
          </p:cNvSpPr>
          <p:nvPr>
            <p:ph type="pic" sz="quarter" idx="31"/>
          </p:nvPr>
        </p:nvSpPr>
        <p:spPr>
          <a:xfrm>
            <a:off x="7157188" y="1901016"/>
            <a:ext cx="816000" cy="437143"/>
          </a:xfrm>
        </p:spPr>
        <p:txBody>
          <a:bodyPr>
            <a:noAutofit/>
          </a:bodyPr>
          <a:lstStyle/>
          <a:p>
            <a:r>
              <a:rPr lang="de-DE"/>
              <a:t>Bild durch Klicken auf Symbol hinzufügen</a:t>
            </a:r>
            <a:endParaRPr lang="en-US"/>
          </a:p>
        </p:txBody>
      </p:sp>
      <p:sp>
        <p:nvSpPr>
          <p:cNvPr id="38" name="textbox 2 below">
            <a:extLst>
              <a:ext uri="{FF2B5EF4-FFF2-40B4-BE49-F238E27FC236}">
                <a16:creationId xmlns:a16="http://schemas.microsoft.com/office/drawing/2014/main" id="{F4FBAF76-6E8A-C307-3D11-6C501F523D55}"/>
              </a:ext>
            </a:extLst>
          </p:cNvPr>
          <p:cNvSpPr>
            <a:spLocks noGrp="1"/>
          </p:cNvSpPr>
          <p:nvPr>
            <p:ph type="body" idx="68" hasCustomPrompt="1"/>
          </p:nvPr>
        </p:nvSpPr>
        <p:spPr>
          <a:xfrm>
            <a:off x="3520134" y="3886431"/>
            <a:ext cx="2880000" cy="2268000"/>
          </a:xfrm>
          <a:prstGeom prst="roundRect">
            <a:avLst>
              <a:gd name="adj" fmla="val 2335"/>
            </a:avLst>
          </a:prstGeom>
          <a:gradFill>
            <a:gsLst>
              <a:gs pos="0">
                <a:srgbClr val="FF4B4B"/>
              </a:gs>
              <a:gs pos="100000">
                <a:srgbClr val="FF744F"/>
              </a:gs>
            </a:gsLst>
            <a:lin ang="18900000" scaled="0"/>
          </a:gradFill>
          <a:ln w="3175">
            <a:solidFill>
              <a:schemeClr val="accent4">
                <a:lumMod val="90000"/>
              </a:schemeClr>
            </a:solidFill>
          </a:ln>
          <a:effectLst>
            <a:outerShdw blurRad="63500" algn="ctr" rotWithShape="0">
              <a:schemeClr val="accent4">
                <a:alpha val="50000"/>
              </a:schemeClr>
            </a:outerShdw>
          </a:effectLst>
        </p:spPr>
        <p:txBody>
          <a:bodyPr lIns="144000" tIns="216000" anchor="t"/>
          <a:lstStyle>
            <a:lvl1pPr marL="0" indent="0" algn="l">
              <a:lnSpc>
                <a:spcPct val="100000"/>
              </a:lnSpc>
              <a:spcBef>
                <a:spcPts val="0"/>
              </a:spcBef>
              <a:spcAft>
                <a:spcPts val="0"/>
              </a:spcAft>
              <a:buNone/>
              <a:defRPr sz="3600" b="0" spc="40" baseline="0">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Testtext</a:t>
            </a:r>
          </a:p>
        </p:txBody>
      </p:sp>
      <p:sp>
        <p:nvSpPr>
          <p:cNvPr id="39" name="text 2 below">
            <a:extLst>
              <a:ext uri="{FF2B5EF4-FFF2-40B4-BE49-F238E27FC236}">
                <a16:creationId xmlns:a16="http://schemas.microsoft.com/office/drawing/2014/main" id="{29E1B6E4-DBE8-DEEE-A245-44ABA3FE0484}"/>
              </a:ext>
            </a:extLst>
          </p:cNvPr>
          <p:cNvSpPr>
            <a:spLocks noGrp="1"/>
          </p:cNvSpPr>
          <p:nvPr>
            <p:ph type="body" sz="quarter" idx="69"/>
          </p:nvPr>
        </p:nvSpPr>
        <p:spPr>
          <a:xfrm>
            <a:off x="3747770" y="4761525"/>
            <a:ext cx="2520000" cy="1296000"/>
          </a:xfrm>
          <a:prstGeom prst="rect">
            <a:avLst/>
          </a:prstGeom>
          <a:noFill/>
          <a:effectLst>
            <a:outerShdw blurRad="63500" algn="ctr" rotWithShape="0">
              <a:schemeClr val="accent4">
                <a:alpha val="50000"/>
              </a:schemeClr>
            </a:outerShdw>
          </a:effectLst>
        </p:spPr>
        <p:txBody>
          <a:bodyPr vert="horz" lIns="0" tIns="0" rIns="0" bIns="0" rtlCol="0" anchor="t">
            <a:noAutofit/>
          </a:bodyPr>
          <a:lstStyle>
            <a:lvl1pPr algn="l" defTabSz="914400" rtl="0" eaLnBrk="1" latinLnBrk="0" hangingPunct="1">
              <a:lnSpc>
                <a:spcPts val="1600"/>
              </a:lnSpc>
              <a:spcBef>
                <a:spcPts val="100"/>
              </a:spcBef>
              <a:spcAft>
                <a:spcPts val="100"/>
              </a:spcAft>
              <a:tabLst>
                <a:tab pos="182563" algn="l"/>
              </a:tabLst>
              <a:defRPr lang="en-US" sz="1200" b="0" i="0" kern="1200" baseline="0" noProof="0" smtClean="0">
                <a:solidFill>
                  <a:schemeClr val="bg1"/>
                </a:solidFill>
                <a:latin typeface="Segoe UI Semilight" panose="020B0402040204020203" pitchFamily="34" charset="0"/>
                <a:ea typeface="+mn-ea"/>
                <a:cs typeface="Segoe UI Semilight" panose="020B0402040204020203" pitchFamily="34" charset="0"/>
              </a:defRPr>
            </a:lvl1pPr>
            <a:lvl2pPr algn="l" defTabSz="914400" rtl="0" eaLnBrk="1" latinLnBrk="0" hangingPunct="1">
              <a:lnSpc>
                <a:spcPts val="1600"/>
              </a:lnSpc>
              <a:spcBef>
                <a:spcPts val="100"/>
              </a:spcBef>
              <a:spcAft>
                <a:spcPts val="100"/>
              </a:spcAft>
              <a:tabLst>
                <a:tab pos="182563" algn="l"/>
              </a:tabLst>
              <a:defRPr lang="en-US" sz="1200" b="0" i="0" kern="1200" baseline="0" noProof="0" smtClean="0">
                <a:solidFill>
                  <a:schemeClr val="bg1"/>
                </a:solidFill>
                <a:latin typeface="Segoe UI Semilight" panose="020B0402040204020203" pitchFamily="34" charset="0"/>
                <a:ea typeface="+mn-ea"/>
                <a:cs typeface="Segoe UI Semilight" panose="020B0402040204020203" pitchFamily="34" charset="0"/>
              </a:defRPr>
            </a:lvl2pPr>
            <a:lvl3pPr algn="l" defTabSz="914400" rtl="0" eaLnBrk="1" latinLnBrk="0" hangingPunct="1">
              <a:lnSpc>
                <a:spcPts val="1600"/>
              </a:lnSpc>
              <a:spcBef>
                <a:spcPts val="100"/>
              </a:spcBef>
              <a:spcAft>
                <a:spcPts val="100"/>
              </a:spcAft>
              <a:tabLst>
                <a:tab pos="182563" algn="l"/>
              </a:tabLst>
              <a:defRPr lang="en-US" sz="1200" b="0" i="0" kern="1200" baseline="0" noProof="0" smtClean="0">
                <a:solidFill>
                  <a:schemeClr val="bg1"/>
                </a:solidFill>
                <a:latin typeface="Segoe UI Semilight" panose="020B0402040204020203" pitchFamily="34" charset="0"/>
                <a:ea typeface="+mn-ea"/>
                <a:cs typeface="Segoe UI Semilight" panose="020B0402040204020203" pitchFamily="34" charset="0"/>
              </a:defRPr>
            </a:lvl3pPr>
            <a:lvl4pPr algn="l" defTabSz="914400" rtl="0" eaLnBrk="1" latinLnBrk="0" hangingPunct="1">
              <a:lnSpc>
                <a:spcPts val="1600"/>
              </a:lnSpc>
              <a:spcBef>
                <a:spcPts val="100"/>
              </a:spcBef>
              <a:spcAft>
                <a:spcPts val="100"/>
              </a:spcAft>
              <a:tabLst>
                <a:tab pos="182563" algn="l"/>
              </a:tabLst>
              <a:defRPr lang="en-US" sz="1200" b="0" i="0" kern="1200" baseline="0" noProof="0" smtClean="0">
                <a:solidFill>
                  <a:schemeClr val="bg1"/>
                </a:solidFill>
                <a:latin typeface="Segoe UI Semilight" panose="020B0402040204020203" pitchFamily="34" charset="0"/>
                <a:ea typeface="+mn-ea"/>
                <a:cs typeface="Segoe UI Semilight" panose="020B0402040204020203" pitchFamily="34" charset="0"/>
              </a:defRPr>
            </a:lvl4pPr>
            <a:lvl5pPr>
              <a:defRPr lang="en-US" smtClean="0">
                <a:solidFill>
                  <a:schemeClr val="bg1"/>
                </a:solidFill>
              </a:defRPr>
            </a:lvl5pPr>
            <a:lvl6pPr algn="l" defTabSz="914400" rtl="0" eaLnBrk="1" latinLnBrk="0" hangingPunct="1">
              <a:lnSpc>
                <a:spcPts val="1600"/>
              </a:lnSpc>
              <a:spcBef>
                <a:spcPts val="100"/>
              </a:spcBef>
              <a:spcAft>
                <a:spcPts val="100"/>
              </a:spcAft>
              <a:tabLst>
                <a:tab pos="182563" algn="l"/>
              </a:tabLst>
              <a:defRPr lang="en-US" sz="1200" b="0" i="0" kern="1200" baseline="0" noProof="0" dirty="0" smtClean="0">
                <a:solidFill>
                  <a:schemeClr val="bg1"/>
                </a:solidFill>
                <a:latin typeface="Segoe UI Semilight" panose="020B0402040204020203" pitchFamily="34" charset="0"/>
                <a:ea typeface="+mn-ea"/>
                <a:cs typeface="Segoe UI Semilight" panose="020B0402040204020203" pitchFamily="34" charset="0"/>
              </a:defRPr>
            </a:lvl6pPr>
            <a:lvl7pPr algn="l" defTabSz="914400" rtl="0" eaLnBrk="1" latinLnBrk="0" hangingPunct="1">
              <a:lnSpc>
                <a:spcPts val="1600"/>
              </a:lnSpc>
              <a:spcBef>
                <a:spcPts val="100"/>
              </a:spcBef>
              <a:spcAft>
                <a:spcPts val="100"/>
              </a:spcAft>
              <a:tabLst>
                <a:tab pos="182563" algn="l"/>
              </a:tabLst>
              <a:defRPr lang="en-US" sz="1200" b="0" i="0" kern="1200" baseline="0" noProof="0" dirty="0" smtClean="0">
                <a:solidFill>
                  <a:schemeClr val="bg1"/>
                </a:solidFill>
                <a:latin typeface="Segoe UI Semilight" panose="020B0402040204020203" pitchFamily="34" charset="0"/>
                <a:ea typeface="+mn-ea"/>
                <a:cs typeface="Segoe UI Semilight" panose="020B0402040204020203" pitchFamily="34" charset="0"/>
              </a:defRPr>
            </a:lvl7pPr>
            <a:lvl8pPr algn="l" defTabSz="914400" rtl="0" eaLnBrk="1" latinLnBrk="0" hangingPunct="1">
              <a:lnSpc>
                <a:spcPts val="1600"/>
              </a:lnSpc>
              <a:spcBef>
                <a:spcPts val="100"/>
              </a:spcBef>
              <a:spcAft>
                <a:spcPts val="100"/>
              </a:spcAft>
              <a:tabLst>
                <a:tab pos="182563" algn="l"/>
              </a:tabLst>
              <a:defRPr lang="en-US" sz="1200" b="0" i="0" kern="1200" baseline="0" noProof="0" dirty="0" smtClean="0">
                <a:solidFill>
                  <a:schemeClr val="bg1"/>
                </a:solidFill>
                <a:latin typeface="Segoe UI Semilight" panose="020B0402040204020203" pitchFamily="34" charset="0"/>
                <a:ea typeface="+mn-ea"/>
                <a:cs typeface="Segoe UI Semilight" panose="020B0402040204020203" pitchFamily="34" charset="0"/>
              </a:defRPr>
            </a:lvl8pPr>
            <a:lvl9pPr>
              <a:defRPr lang="en-US" sz="1200" dirty="0">
                <a:solidFill>
                  <a:schemeClr val="bg1"/>
                </a:solidFill>
              </a:defRPr>
            </a:lvl9pPr>
          </a:lstStyle>
          <a:p>
            <a:pPr lvl="0">
              <a:lnSpc>
                <a:spcPts val="1600"/>
              </a:lnSpc>
              <a:spcBef>
                <a:spcPts val="100"/>
              </a:spcBef>
              <a:spcAft>
                <a:spcPts val="100"/>
              </a:spcAft>
            </a:pPr>
            <a:r>
              <a:rPr lang="de-DE"/>
              <a:t>Mastertextformat bearbeiten</a:t>
            </a:r>
          </a:p>
          <a:p>
            <a:pPr lvl="1">
              <a:lnSpc>
                <a:spcPts val="1600"/>
              </a:lnSpc>
              <a:spcBef>
                <a:spcPts val="100"/>
              </a:spcBef>
              <a:spcAft>
                <a:spcPts val="100"/>
              </a:spcAft>
            </a:pPr>
            <a:r>
              <a:rPr lang="de-DE"/>
              <a:t>Zweite Ebene</a:t>
            </a:r>
          </a:p>
          <a:p>
            <a:pPr lvl="2">
              <a:lnSpc>
                <a:spcPts val="1600"/>
              </a:lnSpc>
              <a:spcBef>
                <a:spcPts val="100"/>
              </a:spcBef>
              <a:spcAft>
                <a:spcPts val="100"/>
              </a:spcAft>
            </a:pPr>
            <a:r>
              <a:rPr lang="de-DE"/>
              <a:t>Dritte Ebene</a:t>
            </a:r>
          </a:p>
          <a:p>
            <a:pPr lvl="3">
              <a:lnSpc>
                <a:spcPts val="1600"/>
              </a:lnSpc>
              <a:spcBef>
                <a:spcPts val="100"/>
              </a:spcBef>
              <a:spcAft>
                <a:spcPts val="100"/>
              </a:spcAft>
            </a:pPr>
            <a:r>
              <a:rPr lang="de-DE"/>
              <a:t>Vierte Ebene</a:t>
            </a:r>
          </a:p>
          <a:p>
            <a:pPr lvl="4">
              <a:lnSpc>
                <a:spcPts val="1600"/>
              </a:lnSpc>
              <a:spcBef>
                <a:spcPts val="100"/>
              </a:spcBef>
              <a:spcAft>
                <a:spcPts val="100"/>
              </a:spcAft>
            </a:pPr>
            <a:r>
              <a:rPr lang="de-DE"/>
              <a:t>Fünfte Ebene</a:t>
            </a:r>
            <a:endParaRPr lang="en-US" dirty="0"/>
          </a:p>
        </p:txBody>
      </p:sp>
      <p:sp>
        <p:nvSpPr>
          <p:cNvPr id="40" name="textbox 1 below">
            <a:extLst>
              <a:ext uri="{FF2B5EF4-FFF2-40B4-BE49-F238E27FC236}">
                <a16:creationId xmlns:a16="http://schemas.microsoft.com/office/drawing/2014/main" id="{1B1722B6-8450-B910-50A5-F10CA47EF28C}"/>
              </a:ext>
            </a:extLst>
          </p:cNvPr>
          <p:cNvSpPr>
            <a:spLocks noGrp="1"/>
          </p:cNvSpPr>
          <p:nvPr>
            <p:ph type="body" idx="70" hasCustomPrompt="1"/>
          </p:nvPr>
        </p:nvSpPr>
        <p:spPr>
          <a:xfrm>
            <a:off x="540000" y="3886431"/>
            <a:ext cx="2880000" cy="2268000"/>
          </a:xfrm>
          <a:prstGeom prst="roundRect">
            <a:avLst>
              <a:gd name="adj" fmla="val 2335"/>
            </a:avLst>
          </a:prstGeom>
          <a:gradFill>
            <a:gsLst>
              <a:gs pos="0">
                <a:srgbClr val="FF4B4B"/>
              </a:gs>
              <a:gs pos="100000">
                <a:srgbClr val="FF744F"/>
              </a:gs>
            </a:gsLst>
            <a:lin ang="18900000" scaled="0"/>
          </a:gradFill>
          <a:ln w="3175">
            <a:solidFill>
              <a:schemeClr val="accent4">
                <a:lumMod val="90000"/>
              </a:schemeClr>
            </a:solidFill>
          </a:ln>
          <a:effectLst>
            <a:outerShdw blurRad="63500" algn="ctr" rotWithShape="0">
              <a:schemeClr val="accent4">
                <a:alpha val="50000"/>
              </a:schemeClr>
            </a:outerShdw>
          </a:effectLst>
        </p:spPr>
        <p:txBody>
          <a:bodyPr lIns="144000" tIns="216000" anchor="t"/>
          <a:lstStyle>
            <a:lvl1pPr marL="0" indent="0" algn="l">
              <a:lnSpc>
                <a:spcPct val="100000"/>
              </a:lnSpc>
              <a:spcBef>
                <a:spcPts val="0"/>
              </a:spcBef>
              <a:spcAft>
                <a:spcPts val="0"/>
              </a:spcAft>
              <a:buNone/>
              <a:defRPr sz="3600" b="0" spc="40" baseline="0">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Testtext</a:t>
            </a:r>
          </a:p>
        </p:txBody>
      </p:sp>
      <p:sp>
        <p:nvSpPr>
          <p:cNvPr id="41" name="text 1 below">
            <a:extLst>
              <a:ext uri="{FF2B5EF4-FFF2-40B4-BE49-F238E27FC236}">
                <a16:creationId xmlns:a16="http://schemas.microsoft.com/office/drawing/2014/main" id="{7F42DA1E-E0D7-AB23-D6B2-5C71AFE302AF}"/>
              </a:ext>
            </a:extLst>
          </p:cNvPr>
          <p:cNvSpPr>
            <a:spLocks noGrp="1"/>
          </p:cNvSpPr>
          <p:nvPr>
            <p:ph type="body" sz="quarter" idx="71"/>
          </p:nvPr>
        </p:nvSpPr>
        <p:spPr>
          <a:xfrm>
            <a:off x="770067" y="4761525"/>
            <a:ext cx="2520000" cy="1296000"/>
          </a:xfrm>
          <a:prstGeom prst="rect">
            <a:avLst/>
          </a:prstGeom>
          <a:noFill/>
          <a:effectLst>
            <a:outerShdw blurRad="63500" algn="ctr" rotWithShape="0">
              <a:schemeClr val="accent4">
                <a:alpha val="50000"/>
              </a:schemeClr>
            </a:outerShdw>
          </a:effectLst>
        </p:spPr>
        <p:txBody>
          <a:bodyPr vert="horz" lIns="0" tIns="0" rIns="0" bIns="0" rtlCol="0" anchor="t">
            <a:noAutofit/>
          </a:bodyPr>
          <a:lstStyle>
            <a:lvl1pPr algn="l" defTabSz="914400" rtl="0" eaLnBrk="1" latinLnBrk="0" hangingPunct="1">
              <a:lnSpc>
                <a:spcPts val="1600"/>
              </a:lnSpc>
              <a:spcBef>
                <a:spcPts val="100"/>
              </a:spcBef>
              <a:spcAft>
                <a:spcPts val="100"/>
              </a:spcAft>
              <a:tabLst>
                <a:tab pos="182563" algn="l"/>
              </a:tabLst>
              <a:defRPr lang="en-US" sz="1200" b="0" i="0" kern="1200" baseline="0" noProof="0" smtClean="0">
                <a:solidFill>
                  <a:schemeClr val="bg1"/>
                </a:solidFill>
                <a:latin typeface="Segoe UI Semilight" panose="020B0402040204020203" pitchFamily="34" charset="0"/>
                <a:ea typeface="+mn-ea"/>
                <a:cs typeface="Segoe UI Semilight" panose="020B0402040204020203" pitchFamily="34" charset="0"/>
              </a:defRPr>
            </a:lvl1pPr>
            <a:lvl2pPr algn="l" defTabSz="914400" rtl="0" eaLnBrk="1" latinLnBrk="0" hangingPunct="1">
              <a:lnSpc>
                <a:spcPts val="1600"/>
              </a:lnSpc>
              <a:spcBef>
                <a:spcPts val="100"/>
              </a:spcBef>
              <a:spcAft>
                <a:spcPts val="100"/>
              </a:spcAft>
              <a:tabLst>
                <a:tab pos="182563" algn="l"/>
              </a:tabLst>
              <a:defRPr lang="en-US" sz="1200" b="0" i="0" kern="1200" baseline="0" noProof="0" smtClean="0">
                <a:solidFill>
                  <a:schemeClr val="bg1"/>
                </a:solidFill>
                <a:latin typeface="Segoe UI Semilight" panose="020B0402040204020203" pitchFamily="34" charset="0"/>
                <a:ea typeface="+mn-ea"/>
                <a:cs typeface="Segoe UI Semilight" panose="020B0402040204020203" pitchFamily="34" charset="0"/>
              </a:defRPr>
            </a:lvl2pPr>
            <a:lvl3pPr algn="l" defTabSz="914400" rtl="0" eaLnBrk="1" latinLnBrk="0" hangingPunct="1">
              <a:lnSpc>
                <a:spcPts val="1600"/>
              </a:lnSpc>
              <a:spcBef>
                <a:spcPts val="100"/>
              </a:spcBef>
              <a:spcAft>
                <a:spcPts val="100"/>
              </a:spcAft>
              <a:tabLst>
                <a:tab pos="182563" algn="l"/>
              </a:tabLst>
              <a:defRPr lang="en-US" sz="1200" b="0" i="0" kern="1200" baseline="0" noProof="0" smtClean="0">
                <a:solidFill>
                  <a:schemeClr val="bg1"/>
                </a:solidFill>
                <a:latin typeface="Segoe UI Semilight" panose="020B0402040204020203" pitchFamily="34" charset="0"/>
                <a:ea typeface="+mn-ea"/>
                <a:cs typeface="Segoe UI Semilight" panose="020B0402040204020203" pitchFamily="34" charset="0"/>
              </a:defRPr>
            </a:lvl3pPr>
            <a:lvl4pPr algn="l" defTabSz="914400" rtl="0" eaLnBrk="1" latinLnBrk="0" hangingPunct="1">
              <a:lnSpc>
                <a:spcPts val="1600"/>
              </a:lnSpc>
              <a:spcBef>
                <a:spcPts val="100"/>
              </a:spcBef>
              <a:spcAft>
                <a:spcPts val="100"/>
              </a:spcAft>
              <a:tabLst>
                <a:tab pos="182563" algn="l"/>
              </a:tabLst>
              <a:defRPr lang="en-US" sz="1200" b="0" i="0" kern="1200" baseline="0" noProof="0" smtClean="0">
                <a:solidFill>
                  <a:schemeClr val="bg1"/>
                </a:solidFill>
                <a:latin typeface="Segoe UI Semilight" panose="020B0402040204020203" pitchFamily="34" charset="0"/>
                <a:ea typeface="+mn-ea"/>
                <a:cs typeface="Segoe UI Semilight" panose="020B0402040204020203" pitchFamily="34" charset="0"/>
              </a:defRPr>
            </a:lvl4pPr>
            <a:lvl5pPr>
              <a:defRPr lang="en-US" smtClean="0">
                <a:solidFill>
                  <a:schemeClr val="bg1"/>
                </a:solidFill>
              </a:defRPr>
            </a:lvl5pPr>
            <a:lvl6pPr algn="l" defTabSz="914400" rtl="0" eaLnBrk="1" latinLnBrk="0" hangingPunct="1">
              <a:lnSpc>
                <a:spcPts val="1600"/>
              </a:lnSpc>
              <a:spcBef>
                <a:spcPts val="100"/>
              </a:spcBef>
              <a:spcAft>
                <a:spcPts val="100"/>
              </a:spcAft>
              <a:tabLst>
                <a:tab pos="182563" algn="l"/>
              </a:tabLst>
              <a:defRPr lang="en-US" sz="1200" b="0" i="0" kern="1200" baseline="0" noProof="0" dirty="0" smtClean="0">
                <a:solidFill>
                  <a:schemeClr val="bg1"/>
                </a:solidFill>
                <a:latin typeface="Segoe UI Semilight" panose="020B0402040204020203" pitchFamily="34" charset="0"/>
                <a:ea typeface="+mn-ea"/>
                <a:cs typeface="Segoe UI Semilight" panose="020B0402040204020203" pitchFamily="34" charset="0"/>
              </a:defRPr>
            </a:lvl6pPr>
            <a:lvl7pPr algn="l" defTabSz="914400" rtl="0" eaLnBrk="1" latinLnBrk="0" hangingPunct="1">
              <a:lnSpc>
                <a:spcPts val="1600"/>
              </a:lnSpc>
              <a:spcBef>
                <a:spcPts val="100"/>
              </a:spcBef>
              <a:spcAft>
                <a:spcPts val="100"/>
              </a:spcAft>
              <a:tabLst>
                <a:tab pos="182563" algn="l"/>
              </a:tabLst>
              <a:defRPr lang="en-US" sz="1200" b="0" i="0" kern="1200" baseline="0" noProof="0" dirty="0" smtClean="0">
                <a:solidFill>
                  <a:schemeClr val="bg1"/>
                </a:solidFill>
                <a:latin typeface="Segoe UI Semilight" panose="020B0402040204020203" pitchFamily="34" charset="0"/>
                <a:ea typeface="+mn-ea"/>
                <a:cs typeface="Segoe UI Semilight" panose="020B0402040204020203" pitchFamily="34" charset="0"/>
              </a:defRPr>
            </a:lvl7pPr>
            <a:lvl8pPr algn="l" defTabSz="914400" rtl="0" eaLnBrk="1" latinLnBrk="0" hangingPunct="1">
              <a:lnSpc>
                <a:spcPts val="1600"/>
              </a:lnSpc>
              <a:spcBef>
                <a:spcPts val="100"/>
              </a:spcBef>
              <a:spcAft>
                <a:spcPts val="100"/>
              </a:spcAft>
              <a:tabLst>
                <a:tab pos="182563" algn="l"/>
              </a:tabLst>
              <a:defRPr lang="en-US" sz="1200" b="0" i="0" kern="1200" baseline="0" noProof="0" dirty="0" smtClean="0">
                <a:solidFill>
                  <a:schemeClr val="bg1"/>
                </a:solidFill>
                <a:latin typeface="Segoe UI Semilight" panose="020B0402040204020203" pitchFamily="34" charset="0"/>
                <a:ea typeface="+mn-ea"/>
                <a:cs typeface="Segoe UI Semilight" panose="020B0402040204020203" pitchFamily="34" charset="0"/>
              </a:defRPr>
            </a:lvl8pPr>
            <a:lvl9pPr>
              <a:defRPr lang="en-US" sz="1200" dirty="0">
                <a:solidFill>
                  <a:schemeClr val="bg1"/>
                </a:solidFill>
              </a:defRPr>
            </a:lvl9pPr>
          </a:lstStyle>
          <a:p>
            <a:pPr lvl="0">
              <a:lnSpc>
                <a:spcPts val="1600"/>
              </a:lnSpc>
              <a:spcBef>
                <a:spcPts val="100"/>
              </a:spcBef>
              <a:spcAft>
                <a:spcPts val="100"/>
              </a:spcAft>
            </a:pPr>
            <a:r>
              <a:rPr lang="de-DE"/>
              <a:t>Mastertextformat bearbeiten</a:t>
            </a:r>
          </a:p>
          <a:p>
            <a:pPr lvl="1">
              <a:lnSpc>
                <a:spcPts val="1600"/>
              </a:lnSpc>
              <a:spcBef>
                <a:spcPts val="100"/>
              </a:spcBef>
              <a:spcAft>
                <a:spcPts val="100"/>
              </a:spcAft>
            </a:pPr>
            <a:r>
              <a:rPr lang="de-DE"/>
              <a:t>Zweite Ebene</a:t>
            </a:r>
          </a:p>
          <a:p>
            <a:pPr lvl="2">
              <a:lnSpc>
                <a:spcPts val="1600"/>
              </a:lnSpc>
              <a:spcBef>
                <a:spcPts val="100"/>
              </a:spcBef>
              <a:spcAft>
                <a:spcPts val="100"/>
              </a:spcAft>
            </a:pPr>
            <a:r>
              <a:rPr lang="de-DE"/>
              <a:t>Dritte Ebene</a:t>
            </a:r>
          </a:p>
          <a:p>
            <a:pPr lvl="3">
              <a:lnSpc>
                <a:spcPts val="1600"/>
              </a:lnSpc>
              <a:spcBef>
                <a:spcPts val="100"/>
              </a:spcBef>
              <a:spcAft>
                <a:spcPts val="100"/>
              </a:spcAft>
            </a:pPr>
            <a:r>
              <a:rPr lang="de-DE"/>
              <a:t>Vierte Ebene</a:t>
            </a:r>
          </a:p>
          <a:p>
            <a:pPr lvl="4">
              <a:lnSpc>
                <a:spcPts val="1600"/>
              </a:lnSpc>
              <a:spcBef>
                <a:spcPts val="100"/>
              </a:spcBef>
              <a:spcAft>
                <a:spcPts val="100"/>
              </a:spcAft>
            </a:pPr>
            <a:r>
              <a:rPr lang="de-DE"/>
              <a:t>Fünfte Ebene</a:t>
            </a:r>
            <a:endParaRPr lang="en-US" dirty="0"/>
          </a:p>
        </p:txBody>
      </p:sp>
      <p:sp>
        <p:nvSpPr>
          <p:cNvPr id="29" name="textbox 2">
            <a:extLst>
              <a:ext uri="{FF2B5EF4-FFF2-40B4-BE49-F238E27FC236}">
                <a16:creationId xmlns:a16="http://schemas.microsoft.com/office/drawing/2014/main" id="{EAC91221-6B27-61BA-286E-D5ECB006B892}"/>
              </a:ext>
            </a:extLst>
          </p:cNvPr>
          <p:cNvSpPr>
            <a:spLocks noGrp="1"/>
          </p:cNvSpPr>
          <p:nvPr>
            <p:ph type="body" idx="62" hasCustomPrompt="1"/>
          </p:nvPr>
        </p:nvSpPr>
        <p:spPr>
          <a:xfrm>
            <a:off x="3520134" y="1484312"/>
            <a:ext cx="2880000" cy="2268000"/>
          </a:xfrm>
          <a:prstGeom prst="roundRect">
            <a:avLst>
              <a:gd name="adj" fmla="val 2335"/>
            </a:avLst>
          </a:prstGeom>
          <a:gradFill>
            <a:gsLst>
              <a:gs pos="0">
                <a:srgbClr val="FF4B4B"/>
              </a:gs>
              <a:gs pos="100000">
                <a:srgbClr val="FF744F"/>
              </a:gs>
            </a:gsLst>
            <a:lin ang="18900000" scaled="0"/>
          </a:gradFill>
          <a:ln w="3175">
            <a:solidFill>
              <a:schemeClr val="accent4">
                <a:lumMod val="90000"/>
              </a:schemeClr>
            </a:solidFill>
          </a:ln>
          <a:effectLst>
            <a:outerShdw blurRad="63500" algn="ctr" rotWithShape="0">
              <a:schemeClr val="accent4">
                <a:alpha val="50000"/>
              </a:schemeClr>
            </a:outerShdw>
          </a:effectLst>
        </p:spPr>
        <p:txBody>
          <a:bodyPr lIns="144000" tIns="216000" anchor="t"/>
          <a:lstStyle>
            <a:lvl1pPr marL="0" indent="0" algn="l">
              <a:lnSpc>
                <a:spcPct val="100000"/>
              </a:lnSpc>
              <a:spcBef>
                <a:spcPts val="0"/>
              </a:spcBef>
              <a:spcAft>
                <a:spcPts val="0"/>
              </a:spcAft>
              <a:buNone/>
              <a:defRPr sz="3600" b="0" spc="40" baseline="0">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Testtext</a:t>
            </a:r>
          </a:p>
        </p:txBody>
      </p:sp>
      <p:sp>
        <p:nvSpPr>
          <p:cNvPr id="33" name="text 2">
            <a:extLst>
              <a:ext uri="{FF2B5EF4-FFF2-40B4-BE49-F238E27FC236}">
                <a16:creationId xmlns:a16="http://schemas.microsoft.com/office/drawing/2014/main" id="{4818C9A4-7108-350F-9A62-A637D9339E60}"/>
              </a:ext>
            </a:extLst>
          </p:cNvPr>
          <p:cNvSpPr>
            <a:spLocks noGrp="1"/>
          </p:cNvSpPr>
          <p:nvPr>
            <p:ph type="body" sz="quarter" idx="65"/>
          </p:nvPr>
        </p:nvSpPr>
        <p:spPr>
          <a:xfrm>
            <a:off x="3747770" y="2359406"/>
            <a:ext cx="2520000" cy="1296000"/>
          </a:xfrm>
          <a:prstGeom prst="rect">
            <a:avLst/>
          </a:prstGeom>
          <a:noFill/>
          <a:effectLst>
            <a:outerShdw blurRad="63500" algn="ctr" rotWithShape="0">
              <a:schemeClr val="accent4">
                <a:alpha val="50000"/>
              </a:schemeClr>
            </a:outerShdw>
          </a:effectLst>
        </p:spPr>
        <p:txBody>
          <a:bodyPr vert="horz" lIns="0" tIns="0" rIns="0" bIns="0" rtlCol="0" anchor="t">
            <a:noAutofit/>
          </a:bodyPr>
          <a:lstStyle>
            <a:lvl1pPr algn="l" defTabSz="914400" rtl="0" eaLnBrk="1" latinLnBrk="0" hangingPunct="1">
              <a:lnSpc>
                <a:spcPts val="1600"/>
              </a:lnSpc>
              <a:spcBef>
                <a:spcPts val="100"/>
              </a:spcBef>
              <a:spcAft>
                <a:spcPts val="100"/>
              </a:spcAft>
              <a:tabLst>
                <a:tab pos="182563" algn="l"/>
              </a:tabLst>
              <a:defRPr lang="en-US" sz="1200" b="0" i="0" kern="1200" baseline="0" noProof="0" smtClean="0">
                <a:solidFill>
                  <a:schemeClr val="bg1"/>
                </a:solidFill>
                <a:latin typeface="Segoe UI Semilight" panose="020B0402040204020203" pitchFamily="34" charset="0"/>
                <a:ea typeface="+mn-ea"/>
                <a:cs typeface="Segoe UI Semilight" panose="020B0402040204020203" pitchFamily="34" charset="0"/>
              </a:defRPr>
            </a:lvl1pPr>
            <a:lvl2pPr algn="l" defTabSz="914400" rtl="0" eaLnBrk="1" latinLnBrk="0" hangingPunct="1">
              <a:lnSpc>
                <a:spcPts val="1600"/>
              </a:lnSpc>
              <a:spcBef>
                <a:spcPts val="100"/>
              </a:spcBef>
              <a:spcAft>
                <a:spcPts val="100"/>
              </a:spcAft>
              <a:tabLst>
                <a:tab pos="182563" algn="l"/>
              </a:tabLst>
              <a:defRPr lang="en-US" sz="1200" b="0" i="0" kern="1200" baseline="0" noProof="0" smtClean="0">
                <a:solidFill>
                  <a:schemeClr val="bg1"/>
                </a:solidFill>
                <a:latin typeface="Segoe UI Semilight" panose="020B0402040204020203" pitchFamily="34" charset="0"/>
                <a:ea typeface="+mn-ea"/>
                <a:cs typeface="Segoe UI Semilight" panose="020B0402040204020203" pitchFamily="34" charset="0"/>
              </a:defRPr>
            </a:lvl2pPr>
            <a:lvl3pPr algn="l" defTabSz="914400" rtl="0" eaLnBrk="1" latinLnBrk="0" hangingPunct="1">
              <a:lnSpc>
                <a:spcPts val="1600"/>
              </a:lnSpc>
              <a:spcBef>
                <a:spcPts val="100"/>
              </a:spcBef>
              <a:spcAft>
                <a:spcPts val="100"/>
              </a:spcAft>
              <a:tabLst>
                <a:tab pos="182563" algn="l"/>
              </a:tabLst>
              <a:defRPr lang="en-US" sz="1200" b="0" i="0" kern="1200" baseline="0" noProof="0" smtClean="0">
                <a:solidFill>
                  <a:schemeClr val="bg1"/>
                </a:solidFill>
                <a:latin typeface="Segoe UI Semilight" panose="020B0402040204020203" pitchFamily="34" charset="0"/>
                <a:ea typeface="+mn-ea"/>
                <a:cs typeface="Segoe UI Semilight" panose="020B0402040204020203" pitchFamily="34" charset="0"/>
              </a:defRPr>
            </a:lvl3pPr>
            <a:lvl4pPr algn="l" defTabSz="914400" rtl="0" eaLnBrk="1" latinLnBrk="0" hangingPunct="1">
              <a:lnSpc>
                <a:spcPts val="1600"/>
              </a:lnSpc>
              <a:spcBef>
                <a:spcPts val="100"/>
              </a:spcBef>
              <a:spcAft>
                <a:spcPts val="100"/>
              </a:spcAft>
              <a:tabLst>
                <a:tab pos="182563" algn="l"/>
              </a:tabLst>
              <a:defRPr lang="en-US" sz="1200" b="0" i="0" kern="1200" baseline="0" noProof="0" smtClean="0">
                <a:solidFill>
                  <a:schemeClr val="bg1"/>
                </a:solidFill>
                <a:latin typeface="Segoe UI Semilight" panose="020B0402040204020203" pitchFamily="34" charset="0"/>
                <a:ea typeface="+mn-ea"/>
                <a:cs typeface="Segoe UI Semilight" panose="020B0402040204020203" pitchFamily="34" charset="0"/>
              </a:defRPr>
            </a:lvl4pPr>
            <a:lvl5pPr>
              <a:defRPr lang="en-US" smtClean="0">
                <a:solidFill>
                  <a:schemeClr val="bg1"/>
                </a:solidFill>
              </a:defRPr>
            </a:lvl5pPr>
            <a:lvl6pPr algn="l" defTabSz="914400" rtl="0" eaLnBrk="1" latinLnBrk="0" hangingPunct="1">
              <a:lnSpc>
                <a:spcPts val="1600"/>
              </a:lnSpc>
              <a:spcBef>
                <a:spcPts val="100"/>
              </a:spcBef>
              <a:spcAft>
                <a:spcPts val="100"/>
              </a:spcAft>
              <a:tabLst>
                <a:tab pos="182563" algn="l"/>
              </a:tabLst>
              <a:defRPr lang="en-US" sz="1200" b="0" i="0" kern="1200" baseline="0" noProof="0" dirty="0" smtClean="0">
                <a:solidFill>
                  <a:schemeClr val="bg1"/>
                </a:solidFill>
                <a:latin typeface="Segoe UI Semilight" panose="020B0402040204020203" pitchFamily="34" charset="0"/>
                <a:ea typeface="+mn-ea"/>
                <a:cs typeface="Segoe UI Semilight" panose="020B0402040204020203" pitchFamily="34" charset="0"/>
              </a:defRPr>
            </a:lvl6pPr>
            <a:lvl7pPr algn="l" defTabSz="914400" rtl="0" eaLnBrk="1" latinLnBrk="0" hangingPunct="1">
              <a:lnSpc>
                <a:spcPts val="1600"/>
              </a:lnSpc>
              <a:spcBef>
                <a:spcPts val="100"/>
              </a:spcBef>
              <a:spcAft>
                <a:spcPts val="100"/>
              </a:spcAft>
              <a:tabLst>
                <a:tab pos="182563" algn="l"/>
              </a:tabLst>
              <a:defRPr lang="en-US" sz="1200" b="0" i="0" kern="1200" baseline="0" noProof="0" dirty="0" smtClean="0">
                <a:solidFill>
                  <a:schemeClr val="bg1"/>
                </a:solidFill>
                <a:latin typeface="Segoe UI Semilight" panose="020B0402040204020203" pitchFamily="34" charset="0"/>
                <a:ea typeface="+mn-ea"/>
                <a:cs typeface="Segoe UI Semilight" panose="020B0402040204020203" pitchFamily="34" charset="0"/>
              </a:defRPr>
            </a:lvl7pPr>
            <a:lvl8pPr algn="l" defTabSz="914400" rtl="0" eaLnBrk="1" latinLnBrk="0" hangingPunct="1">
              <a:lnSpc>
                <a:spcPts val="1600"/>
              </a:lnSpc>
              <a:spcBef>
                <a:spcPts val="100"/>
              </a:spcBef>
              <a:spcAft>
                <a:spcPts val="100"/>
              </a:spcAft>
              <a:tabLst>
                <a:tab pos="182563" algn="l"/>
              </a:tabLst>
              <a:defRPr lang="en-US" sz="1200" b="0" i="0" kern="1200" baseline="0" noProof="0" dirty="0" smtClean="0">
                <a:solidFill>
                  <a:schemeClr val="bg1"/>
                </a:solidFill>
                <a:latin typeface="Segoe UI Semilight" panose="020B0402040204020203" pitchFamily="34" charset="0"/>
                <a:ea typeface="+mn-ea"/>
                <a:cs typeface="Segoe UI Semilight" panose="020B0402040204020203" pitchFamily="34" charset="0"/>
              </a:defRPr>
            </a:lvl8pPr>
            <a:lvl9pPr>
              <a:defRPr lang="en-US" sz="1200" dirty="0">
                <a:solidFill>
                  <a:schemeClr val="bg1"/>
                </a:solidFill>
              </a:defRPr>
            </a:lvl9pPr>
          </a:lstStyle>
          <a:p>
            <a:pPr lvl="0">
              <a:lnSpc>
                <a:spcPts val="1600"/>
              </a:lnSpc>
              <a:spcBef>
                <a:spcPts val="100"/>
              </a:spcBef>
              <a:spcAft>
                <a:spcPts val="100"/>
              </a:spcAft>
            </a:pPr>
            <a:r>
              <a:rPr lang="de-DE"/>
              <a:t>Mastertextformat bearbeiten</a:t>
            </a:r>
          </a:p>
          <a:p>
            <a:pPr lvl="1">
              <a:lnSpc>
                <a:spcPts val="1600"/>
              </a:lnSpc>
              <a:spcBef>
                <a:spcPts val="100"/>
              </a:spcBef>
              <a:spcAft>
                <a:spcPts val="100"/>
              </a:spcAft>
            </a:pPr>
            <a:r>
              <a:rPr lang="de-DE"/>
              <a:t>Zweite Ebene</a:t>
            </a:r>
          </a:p>
          <a:p>
            <a:pPr lvl="2">
              <a:lnSpc>
                <a:spcPts val="1600"/>
              </a:lnSpc>
              <a:spcBef>
                <a:spcPts val="100"/>
              </a:spcBef>
              <a:spcAft>
                <a:spcPts val="100"/>
              </a:spcAft>
            </a:pPr>
            <a:r>
              <a:rPr lang="de-DE"/>
              <a:t>Dritte Ebene</a:t>
            </a:r>
          </a:p>
          <a:p>
            <a:pPr lvl="3">
              <a:lnSpc>
                <a:spcPts val="1600"/>
              </a:lnSpc>
              <a:spcBef>
                <a:spcPts val="100"/>
              </a:spcBef>
              <a:spcAft>
                <a:spcPts val="100"/>
              </a:spcAft>
            </a:pPr>
            <a:r>
              <a:rPr lang="de-DE"/>
              <a:t>Vierte Ebene</a:t>
            </a:r>
          </a:p>
          <a:p>
            <a:pPr lvl="4">
              <a:lnSpc>
                <a:spcPts val="1600"/>
              </a:lnSpc>
              <a:spcBef>
                <a:spcPts val="100"/>
              </a:spcBef>
              <a:spcAft>
                <a:spcPts val="100"/>
              </a:spcAft>
            </a:pPr>
            <a:r>
              <a:rPr lang="de-DE"/>
              <a:t>Fünfte Ebene</a:t>
            </a:r>
            <a:endParaRPr lang="en-US" dirty="0"/>
          </a:p>
        </p:txBody>
      </p:sp>
      <p:sp>
        <p:nvSpPr>
          <p:cNvPr id="28" name="textbox 1">
            <a:extLst>
              <a:ext uri="{FF2B5EF4-FFF2-40B4-BE49-F238E27FC236}">
                <a16:creationId xmlns:a16="http://schemas.microsoft.com/office/drawing/2014/main" id="{41210209-2F8F-4A94-756B-386574596A9C}"/>
              </a:ext>
            </a:extLst>
          </p:cNvPr>
          <p:cNvSpPr>
            <a:spLocks noGrp="1"/>
          </p:cNvSpPr>
          <p:nvPr>
            <p:ph type="body" idx="61" hasCustomPrompt="1"/>
          </p:nvPr>
        </p:nvSpPr>
        <p:spPr>
          <a:xfrm>
            <a:off x="540000" y="1484312"/>
            <a:ext cx="2880000" cy="2268000"/>
          </a:xfrm>
          <a:prstGeom prst="roundRect">
            <a:avLst>
              <a:gd name="adj" fmla="val 2335"/>
            </a:avLst>
          </a:prstGeom>
          <a:gradFill>
            <a:gsLst>
              <a:gs pos="0">
                <a:srgbClr val="FF4B4B"/>
              </a:gs>
              <a:gs pos="100000">
                <a:srgbClr val="FF744F"/>
              </a:gs>
            </a:gsLst>
            <a:lin ang="18900000" scaled="0"/>
          </a:gradFill>
          <a:ln w="3175">
            <a:solidFill>
              <a:schemeClr val="accent4">
                <a:lumMod val="90000"/>
              </a:schemeClr>
            </a:solidFill>
          </a:ln>
          <a:effectLst>
            <a:outerShdw blurRad="63500" algn="ctr" rotWithShape="0">
              <a:schemeClr val="accent4">
                <a:alpha val="50000"/>
              </a:schemeClr>
            </a:outerShdw>
          </a:effectLst>
        </p:spPr>
        <p:txBody>
          <a:bodyPr lIns="144000" tIns="216000" anchor="t"/>
          <a:lstStyle>
            <a:lvl1pPr marL="0" indent="0" algn="l">
              <a:lnSpc>
                <a:spcPct val="100000"/>
              </a:lnSpc>
              <a:spcBef>
                <a:spcPts val="0"/>
              </a:spcBef>
              <a:spcAft>
                <a:spcPts val="0"/>
              </a:spcAft>
              <a:buNone/>
              <a:defRPr sz="3600" b="0" spc="40" baseline="0">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 </a:t>
            </a:r>
            <a:r>
              <a:rPr lang="en-US" dirty="0" err="1"/>
              <a:t>Testtext</a:t>
            </a:r>
            <a:endParaRPr lang="en-US" dirty="0"/>
          </a:p>
        </p:txBody>
      </p:sp>
      <p:sp>
        <p:nvSpPr>
          <p:cNvPr id="32" name="text 1">
            <a:extLst>
              <a:ext uri="{FF2B5EF4-FFF2-40B4-BE49-F238E27FC236}">
                <a16:creationId xmlns:a16="http://schemas.microsoft.com/office/drawing/2014/main" id="{A0ADE226-CB9B-D822-4EC3-AA0028471BB9}"/>
              </a:ext>
            </a:extLst>
          </p:cNvPr>
          <p:cNvSpPr>
            <a:spLocks noGrp="1"/>
          </p:cNvSpPr>
          <p:nvPr>
            <p:ph type="body" sz="quarter" idx="17"/>
          </p:nvPr>
        </p:nvSpPr>
        <p:spPr>
          <a:xfrm>
            <a:off x="770067" y="2359406"/>
            <a:ext cx="2520000" cy="1296000"/>
          </a:xfrm>
          <a:prstGeom prst="rect">
            <a:avLst/>
          </a:prstGeom>
          <a:noFill/>
          <a:effectLst>
            <a:outerShdw blurRad="63500" algn="ctr" rotWithShape="0">
              <a:schemeClr val="accent4">
                <a:alpha val="50000"/>
              </a:schemeClr>
            </a:outerShdw>
          </a:effectLst>
        </p:spPr>
        <p:txBody>
          <a:bodyPr vert="horz" lIns="0" tIns="0" rIns="0" bIns="0" rtlCol="0" anchor="t">
            <a:noAutofit/>
          </a:bodyPr>
          <a:lstStyle>
            <a:lvl1pPr>
              <a:lnSpc>
                <a:spcPts val="1600"/>
              </a:lnSpc>
              <a:spcBef>
                <a:spcPts val="100"/>
              </a:spcBef>
              <a:spcAft>
                <a:spcPts val="100"/>
              </a:spcAft>
              <a:defRPr lang="en-US" sz="1200" i="0" dirty="0">
                <a:solidFill>
                  <a:schemeClr val="bg1"/>
                </a:solidFill>
                <a:latin typeface="Segoe UI Semilight" panose="020B0402040204020203" pitchFamily="34" charset="0"/>
                <a:cs typeface="Segoe UI Semilight" panose="020B0402040204020203" pitchFamily="34" charset="0"/>
              </a:defRPr>
            </a:lvl1pPr>
            <a:lvl2pPr>
              <a:lnSpc>
                <a:spcPts val="1600"/>
              </a:lnSpc>
              <a:spcBef>
                <a:spcPts val="100"/>
              </a:spcBef>
              <a:spcAft>
                <a:spcPts val="100"/>
              </a:spcAft>
              <a:buClr>
                <a:schemeClr val="bg1"/>
              </a:buClr>
              <a:defRPr lang="en-US" sz="1200" dirty="0">
                <a:solidFill>
                  <a:schemeClr val="bg1"/>
                </a:solidFill>
              </a:defRPr>
            </a:lvl2pPr>
            <a:lvl3pPr>
              <a:lnSpc>
                <a:spcPts val="1600"/>
              </a:lnSpc>
              <a:spcBef>
                <a:spcPts val="100"/>
              </a:spcBef>
              <a:spcAft>
                <a:spcPts val="100"/>
              </a:spcAft>
              <a:buClr>
                <a:schemeClr val="bg1"/>
              </a:buClr>
              <a:defRPr lang="en-US" sz="1200" dirty="0">
                <a:solidFill>
                  <a:schemeClr val="bg1"/>
                </a:solidFill>
              </a:defRPr>
            </a:lvl3pPr>
            <a:lvl4pPr>
              <a:lnSpc>
                <a:spcPts val="1600"/>
              </a:lnSpc>
              <a:spcBef>
                <a:spcPts val="100"/>
              </a:spcBef>
              <a:spcAft>
                <a:spcPts val="100"/>
              </a:spcAft>
              <a:buClr>
                <a:schemeClr val="bg1"/>
              </a:buClr>
              <a:defRPr lang="en-US" sz="1200" dirty="0">
                <a:solidFill>
                  <a:schemeClr val="bg1"/>
                </a:solidFill>
              </a:defRPr>
            </a:lvl4pPr>
            <a:lvl5pPr>
              <a:defRPr lang="en-US" sz="1400" dirty="0">
                <a:solidFill>
                  <a:schemeClr val="bg1"/>
                </a:solidFill>
              </a:defRPr>
            </a:lvl5pPr>
            <a:lvl6pPr algn="l" defTabSz="914400" rtl="0" eaLnBrk="1" latinLnBrk="0" hangingPunct="1">
              <a:lnSpc>
                <a:spcPts val="1600"/>
              </a:lnSpc>
              <a:spcBef>
                <a:spcPts val="100"/>
              </a:spcBef>
              <a:spcAft>
                <a:spcPts val="100"/>
              </a:spcAft>
              <a:buClr>
                <a:schemeClr val="bg1"/>
              </a:buClr>
              <a:tabLst>
                <a:tab pos="182563" algn="l"/>
              </a:tabLst>
              <a:defRPr lang="en-US" sz="1200" b="0" i="0" kern="1200" baseline="0" noProof="0" dirty="0">
                <a:solidFill>
                  <a:schemeClr val="bg1"/>
                </a:solidFill>
                <a:latin typeface="Segoe UI Semilight" panose="020B0402040204020203" pitchFamily="34" charset="0"/>
                <a:ea typeface="+mn-ea"/>
                <a:cs typeface="Segoe UI Semilight" panose="020B0402040204020203" pitchFamily="34" charset="0"/>
              </a:defRPr>
            </a:lvl6pPr>
            <a:lvl7pPr algn="l" defTabSz="914400" rtl="0" eaLnBrk="1" latinLnBrk="0" hangingPunct="1">
              <a:lnSpc>
                <a:spcPts val="1600"/>
              </a:lnSpc>
              <a:spcBef>
                <a:spcPts val="100"/>
              </a:spcBef>
              <a:spcAft>
                <a:spcPts val="100"/>
              </a:spcAft>
              <a:buClr>
                <a:schemeClr val="bg1"/>
              </a:buClr>
              <a:tabLst>
                <a:tab pos="182563" algn="l"/>
              </a:tabLst>
              <a:defRPr lang="en-US" sz="1200" b="0" i="0" kern="1200" baseline="0" noProof="0" dirty="0">
                <a:solidFill>
                  <a:schemeClr val="bg1"/>
                </a:solidFill>
                <a:latin typeface="Segoe UI Semilight" panose="020B0402040204020203" pitchFamily="34" charset="0"/>
                <a:ea typeface="+mn-ea"/>
                <a:cs typeface="Segoe UI Semilight" panose="020B0402040204020203" pitchFamily="34" charset="0"/>
              </a:defRPr>
            </a:lvl7pPr>
            <a:lvl8pPr algn="l" defTabSz="914400" rtl="0" eaLnBrk="1" latinLnBrk="0" hangingPunct="1">
              <a:lnSpc>
                <a:spcPts val="1600"/>
              </a:lnSpc>
              <a:spcBef>
                <a:spcPts val="100"/>
              </a:spcBef>
              <a:spcAft>
                <a:spcPts val="100"/>
              </a:spcAft>
              <a:buClr>
                <a:schemeClr val="bg1"/>
              </a:buClr>
              <a:tabLst>
                <a:tab pos="182563" algn="l"/>
              </a:tabLst>
              <a:defRPr lang="en-US" sz="1200" b="0" i="0" kern="1200" baseline="0" noProof="0" dirty="0">
                <a:solidFill>
                  <a:schemeClr val="bg1"/>
                </a:solidFill>
                <a:latin typeface="Segoe UI Semilight" panose="020B0402040204020203" pitchFamily="34" charset="0"/>
                <a:ea typeface="+mn-ea"/>
                <a:cs typeface="Segoe UI Semilight" panose="020B0402040204020203" pitchFamily="34" charset="0"/>
              </a:defRPr>
            </a:lvl8pPr>
            <a:lvl9pPr>
              <a:defRPr sz="1200">
                <a:solidFill>
                  <a:schemeClr val="bg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6" name="title">
            <a:extLst>
              <a:ext uri="{FF2B5EF4-FFF2-40B4-BE49-F238E27FC236}">
                <a16:creationId xmlns:a16="http://schemas.microsoft.com/office/drawing/2014/main" id="{8EF6F7E1-2A5B-2542-694E-DEE72349B05A}"/>
              </a:ext>
            </a:extLst>
          </p:cNvPr>
          <p:cNvSpPr>
            <a:spLocks noGrp="1"/>
          </p:cNvSpPr>
          <p:nvPr>
            <p:ph type="title"/>
          </p:nvPr>
        </p:nvSpPr>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0D8B8A8A-402D-C8A1-B168-F98BC5DD2918}"/>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832749025"/>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  034b : citiation : 16 logowall">
    <p:spTree>
      <p:nvGrpSpPr>
        <p:cNvPr id="1" name=""/>
        <p:cNvGrpSpPr/>
        <p:nvPr/>
      </p:nvGrpSpPr>
      <p:grpSpPr>
        <a:xfrm>
          <a:off x="0" y="0"/>
          <a:ext cx="0" cy="0"/>
          <a:chOff x="0" y="0"/>
          <a:chExt cx="0" cy="0"/>
        </a:xfrm>
      </p:grpSpPr>
      <p:sp>
        <p:nvSpPr>
          <p:cNvPr id="10" name="slide number">
            <a:extLst>
              <a:ext uri="{FF2B5EF4-FFF2-40B4-BE49-F238E27FC236}">
                <a16:creationId xmlns:a16="http://schemas.microsoft.com/office/drawing/2014/main" id="{B7DF5438-CE54-DB76-7519-6B492C35319C}"/>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BF49D278-F4EF-105E-D394-837DBAD3E5EA}"/>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02E6CEDB-A8CD-4A71-1981-445288A0659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5" name="bg 16">
            <a:extLst>
              <a:ext uri="{FF2B5EF4-FFF2-40B4-BE49-F238E27FC236}">
                <a16:creationId xmlns:a16="http://schemas.microsoft.com/office/drawing/2014/main" id="{874BD11E-D062-6F3E-55F2-D278D887157D}"/>
              </a:ext>
            </a:extLst>
          </p:cNvPr>
          <p:cNvSpPr>
            <a:spLocks noGrp="1"/>
          </p:cNvSpPr>
          <p:nvPr>
            <p:ph type="body" idx="60" hasCustomPrompt="1"/>
          </p:nvPr>
        </p:nvSpPr>
        <p:spPr>
          <a:xfrm>
            <a:off x="10309138" y="4908408"/>
            <a:ext cx="1332000" cy="79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97" name="logo placeholder 16">
            <a:extLst>
              <a:ext uri="{FF2B5EF4-FFF2-40B4-BE49-F238E27FC236}">
                <a16:creationId xmlns:a16="http://schemas.microsoft.com/office/drawing/2014/main" id="{1125ADF2-7F3B-4366-BF76-9281D8AFE84D}"/>
              </a:ext>
            </a:extLst>
          </p:cNvPr>
          <p:cNvSpPr>
            <a:spLocks noGrp="1"/>
          </p:cNvSpPr>
          <p:nvPr>
            <p:ph type="pic" sz="quarter" idx="41"/>
          </p:nvPr>
        </p:nvSpPr>
        <p:spPr>
          <a:xfrm>
            <a:off x="10567138" y="5085837"/>
            <a:ext cx="816000" cy="437143"/>
          </a:xfrm>
        </p:spPr>
        <p:txBody>
          <a:bodyPr>
            <a:noAutofit/>
          </a:bodyPr>
          <a:lstStyle/>
          <a:p>
            <a:r>
              <a:rPr lang="de-DE"/>
              <a:t>Bild durch Klicken auf Symbol hinzufügen</a:t>
            </a:r>
            <a:endParaRPr lang="en-US"/>
          </a:p>
        </p:txBody>
      </p:sp>
      <p:sp>
        <p:nvSpPr>
          <p:cNvPr id="24" name="bg 15">
            <a:extLst>
              <a:ext uri="{FF2B5EF4-FFF2-40B4-BE49-F238E27FC236}">
                <a16:creationId xmlns:a16="http://schemas.microsoft.com/office/drawing/2014/main" id="{8AB765D9-C1DA-56A2-B57E-8C8826F3101A}"/>
              </a:ext>
            </a:extLst>
          </p:cNvPr>
          <p:cNvSpPr>
            <a:spLocks noGrp="1"/>
          </p:cNvSpPr>
          <p:nvPr>
            <p:ph type="body" idx="59" hasCustomPrompt="1"/>
          </p:nvPr>
        </p:nvSpPr>
        <p:spPr>
          <a:xfrm>
            <a:off x="8585113" y="4908408"/>
            <a:ext cx="1332000" cy="79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99" name="logo placeholder 15">
            <a:extLst>
              <a:ext uri="{FF2B5EF4-FFF2-40B4-BE49-F238E27FC236}">
                <a16:creationId xmlns:a16="http://schemas.microsoft.com/office/drawing/2014/main" id="{4B193DB4-7BE9-7CD2-2779-83928D859BAE}"/>
              </a:ext>
            </a:extLst>
          </p:cNvPr>
          <p:cNvSpPr>
            <a:spLocks noGrp="1"/>
          </p:cNvSpPr>
          <p:nvPr>
            <p:ph type="pic" sz="quarter" idx="42"/>
          </p:nvPr>
        </p:nvSpPr>
        <p:spPr>
          <a:xfrm>
            <a:off x="8843113" y="5085837"/>
            <a:ext cx="816000" cy="437143"/>
          </a:xfrm>
        </p:spPr>
        <p:txBody>
          <a:bodyPr>
            <a:noAutofit/>
          </a:bodyPr>
          <a:lstStyle/>
          <a:p>
            <a:r>
              <a:rPr lang="de-DE"/>
              <a:t>Bild durch Klicken auf Symbol hinzufügen</a:t>
            </a:r>
            <a:endParaRPr lang="en-US"/>
          </a:p>
        </p:txBody>
      </p:sp>
      <p:sp>
        <p:nvSpPr>
          <p:cNvPr id="23" name="bg 14">
            <a:extLst>
              <a:ext uri="{FF2B5EF4-FFF2-40B4-BE49-F238E27FC236}">
                <a16:creationId xmlns:a16="http://schemas.microsoft.com/office/drawing/2014/main" id="{8291102F-A4A7-23DF-E987-68DDD979FB43}"/>
              </a:ext>
            </a:extLst>
          </p:cNvPr>
          <p:cNvSpPr>
            <a:spLocks noGrp="1"/>
          </p:cNvSpPr>
          <p:nvPr>
            <p:ph type="body" idx="58" hasCustomPrompt="1"/>
          </p:nvPr>
        </p:nvSpPr>
        <p:spPr>
          <a:xfrm>
            <a:off x="6899188" y="4908408"/>
            <a:ext cx="1332000" cy="79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101" name="logo placeholder 14">
            <a:extLst>
              <a:ext uri="{FF2B5EF4-FFF2-40B4-BE49-F238E27FC236}">
                <a16:creationId xmlns:a16="http://schemas.microsoft.com/office/drawing/2014/main" id="{3CBFFEC2-79F3-CD75-DAF9-0389F3564703}"/>
              </a:ext>
            </a:extLst>
          </p:cNvPr>
          <p:cNvSpPr>
            <a:spLocks noGrp="1"/>
          </p:cNvSpPr>
          <p:nvPr>
            <p:ph type="pic" sz="quarter" idx="43"/>
          </p:nvPr>
        </p:nvSpPr>
        <p:spPr>
          <a:xfrm>
            <a:off x="7157188" y="5085837"/>
            <a:ext cx="816000" cy="437143"/>
          </a:xfrm>
        </p:spPr>
        <p:txBody>
          <a:bodyPr>
            <a:noAutofit/>
          </a:bodyPr>
          <a:lstStyle/>
          <a:p>
            <a:r>
              <a:rPr lang="de-DE"/>
              <a:t>Bild durch Klicken auf Symbol hinzufügen</a:t>
            </a:r>
            <a:endParaRPr lang="en-US"/>
          </a:p>
        </p:txBody>
      </p:sp>
      <p:sp>
        <p:nvSpPr>
          <p:cNvPr id="22" name="bg 13">
            <a:extLst>
              <a:ext uri="{FF2B5EF4-FFF2-40B4-BE49-F238E27FC236}">
                <a16:creationId xmlns:a16="http://schemas.microsoft.com/office/drawing/2014/main" id="{80F67097-1CE7-57C7-C97E-0847968D942E}"/>
              </a:ext>
            </a:extLst>
          </p:cNvPr>
          <p:cNvSpPr>
            <a:spLocks noGrp="1"/>
          </p:cNvSpPr>
          <p:nvPr>
            <p:ph type="body" idx="57" hasCustomPrompt="1"/>
          </p:nvPr>
        </p:nvSpPr>
        <p:spPr>
          <a:xfrm>
            <a:off x="5167916" y="4908408"/>
            <a:ext cx="1332000" cy="79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103" name="logo placeholder 13">
            <a:extLst>
              <a:ext uri="{FF2B5EF4-FFF2-40B4-BE49-F238E27FC236}">
                <a16:creationId xmlns:a16="http://schemas.microsoft.com/office/drawing/2014/main" id="{F113B359-3B0D-4694-4348-739B99E52E68}"/>
              </a:ext>
            </a:extLst>
          </p:cNvPr>
          <p:cNvSpPr>
            <a:spLocks noGrp="1"/>
          </p:cNvSpPr>
          <p:nvPr>
            <p:ph type="pic" sz="quarter" idx="44"/>
          </p:nvPr>
        </p:nvSpPr>
        <p:spPr>
          <a:xfrm>
            <a:off x="5425916" y="5085837"/>
            <a:ext cx="816000" cy="437143"/>
          </a:xfrm>
        </p:spPr>
        <p:txBody>
          <a:bodyPr>
            <a:noAutofit/>
          </a:bodyPr>
          <a:lstStyle/>
          <a:p>
            <a:r>
              <a:rPr lang="de-DE"/>
              <a:t>Bild durch Klicken auf Symbol hinzufügen</a:t>
            </a:r>
            <a:endParaRPr lang="en-US"/>
          </a:p>
        </p:txBody>
      </p:sp>
      <p:sp>
        <p:nvSpPr>
          <p:cNvPr id="21" name="bg 12">
            <a:extLst>
              <a:ext uri="{FF2B5EF4-FFF2-40B4-BE49-F238E27FC236}">
                <a16:creationId xmlns:a16="http://schemas.microsoft.com/office/drawing/2014/main" id="{89DC6826-536C-A61C-C318-0E093D85845B}"/>
              </a:ext>
            </a:extLst>
          </p:cNvPr>
          <p:cNvSpPr>
            <a:spLocks noGrp="1"/>
          </p:cNvSpPr>
          <p:nvPr>
            <p:ph type="body" idx="56" hasCustomPrompt="1"/>
          </p:nvPr>
        </p:nvSpPr>
        <p:spPr>
          <a:xfrm>
            <a:off x="10309138" y="3752620"/>
            <a:ext cx="1332000" cy="79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89" name="logo placeholder 12">
            <a:extLst>
              <a:ext uri="{FF2B5EF4-FFF2-40B4-BE49-F238E27FC236}">
                <a16:creationId xmlns:a16="http://schemas.microsoft.com/office/drawing/2014/main" id="{89CFB8F1-963E-9795-2AB6-37335219BD87}"/>
              </a:ext>
            </a:extLst>
          </p:cNvPr>
          <p:cNvSpPr>
            <a:spLocks noGrp="1"/>
          </p:cNvSpPr>
          <p:nvPr>
            <p:ph type="pic" sz="quarter" idx="37"/>
          </p:nvPr>
        </p:nvSpPr>
        <p:spPr>
          <a:xfrm>
            <a:off x="10567138" y="3930049"/>
            <a:ext cx="816000" cy="437143"/>
          </a:xfrm>
        </p:spPr>
        <p:txBody>
          <a:bodyPr>
            <a:noAutofit/>
          </a:bodyPr>
          <a:lstStyle/>
          <a:p>
            <a:r>
              <a:rPr lang="de-DE"/>
              <a:t>Bild durch Klicken auf Symbol hinzufügen</a:t>
            </a:r>
            <a:endParaRPr lang="en-US"/>
          </a:p>
        </p:txBody>
      </p:sp>
      <p:sp>
        <p:nvSpPr>
          <p:cNvPr id="20" name="bg 11">
            <a:extLst>
              <a:ext uri="{FF2B5EF4-FFF2-40B4-BE49-F238E27FC236}">
                <a16:creationId xmlns:a16="http://schemas.microsoft.com/office/drawing/2014/main" id="{302CA566-790B-AAF4-C53F-603BE626018C}"/>
              </a:ext>
            </a:extLst>
          </p:cNvPr>
          <p:cNvSpPr>
            <a:spLocks noGrp="1"/>
          </p:cNvSpPr>
          <p:nvPr>
            <p:ph type="body" idx="55" hasCustomPrompt="1"/>
          </p:nvPr>
        </p:nvSpPr>
        <p:spPr>
          <a:xfrm>
            <a:off x="8585113" y="3752620"/>
            <a:ext cx="1332000" cy="79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91" name="logo placeholder 11">
            <a:extLst>
              <a:ext uri="{FF2B5EF4-FFF2-40B4-BE49-F238E27FC236}">
                <a16:creationId xmlns:a16="http://schemas.microsoft.com/office/drawing/2014/main" id="{D82004BE-7897-ED19-E2FA-A6EB83D50B21}"/>
              </a:ext>
            </a:extLst>
          </p:cNvPr>
          <p:cNvSpPr>
            <a:spLocks noGrp="1"/>
          </p:cNvSpPr>
          <p:nvPr>
            <p:ph type="pic" sz="quarter" idx="38"/>
          </p:nvPr>
        </p:nvSpPr>
        <p:spPr>
          <a:xfrm>
            <a:off x="8843113" y="3930049"/>
            <a:ext cx="816000" cy="437143"/>
          </a:xfrm>
        </p:spPr>
        <p:txBody>
          <a:bodyPr>
            <a:noAutofit/>
          </a:bodyPr>
          <a:lstStyle/>
          <a:p>
            <a:r>
              <a:rPr lang="de-DE"/>
              <a:t>Bild durch Klicken auf Symbol hinzufügen</a:t>
            </a:r>
            <a:endParaRPr lang="en-US"/>
          </a:p>
        </p:txBody>
      </p:sp>
      <p:sp>
        <p:nvSpPr>
          <p:cNvPr id="19" name="bg 10">
            <a:extLst>
              <a:ext uri="{FF2B5EF4-FFF2-40B4-BE49-F238E27FC236}">
                <a16:creationId xmlns:a16="http://schemas.microsoft.com/office/drawing/2014/main" id="{DD60A014-645C-4647-396D-A5B27710E681}"/>
              </a:ext>
            </a:extLst>
          </p:cNvPr>
          <p:cNvSpPr>
            <a:spLocks noGrp="1"/>
          </p:cNvSpPr>
          <p:nvPr>
            <p:ph type="body" idx="54" hasCustomPrompt="1"/>
          </p:nvPr>
        </p:nvSpPr>
        <p:spPr>
          <a:xfrm>
            <a:off x="6899188" y="3752620"/>
            <a:ext cx="1332000" cy="79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93" name="logo placeholder 10">
            <a:extLst>
              <a:ext uri="{FF2B5EF4-FFF2-40B4-BE49-F238E27FC236}">
                <a16:creationId xmlns:a16="http://schemas.microsoft.com/office/drawing/2014/main" id="{141E863E-D86F-4D0F-02BA-35830ADD0E04}"/>
              </a:ext>
            </a:extLst>
          </p:cNvPr>
          <p:cNvSpPr>
            <a:spLocks noGrp="1"/>
          </p:cNvSpPr>
          <p:nvPr>
            <p:ph type="pic" sz="quarter" idx="39"/>
          </p:nvPr>
        </p:nvSpPr>
        <p:spPr>
          <a:xfrm>
            <a:off x="7157188" y="3930049"/>
            <a:ext cx="816000" cy="437143"/>
          </a:xfrm>
        </p:spPr>
        <p:txBody>
          <a:bodyPr>
            <a:noAutofit/>
          </a:bodyPr>
          <a:lstStyle/>
          <a:p>
            <a:r>
              <a:rPr lang="de-DE"/>
              <a:t>Bild durch Klicken auf Symbol hinzufügen</a:t>
            </a:r>
            <a:endParaRPr lang="en-US"/>
          </a:p>
        </p:txBody>
      </p:sp>
      <p:sp>
        <p:nvSpPr>
          <p:cNvPr id="18" name="bg 9">
            <a:extLst>
              <a:ext uri="{FF2B5EF4-FFF2-40B4-BE49-F238E27FC236}">
                <a16:creationId xmlns:a16="http://schemas.microsoft.com/office/drawing/2014/main" id="{A419D360-8F09-2C9B-808E-89115C166B85}"/>
              </a:ext>
            </a:extLst>
          </p:cNvPr>
          <p:cNvSpPr>
            <a:spLocks noGrp="1"/>
          </p:cNvSpPr>
          <p:nvPr>
            <p:ph type="body" idx="53" hasCustomPrompt="1"/>
          </p:nvPr>
        </p:nvSpPr>
        <p:spPr>
          <a:xfrm>
            <a:off x="5167916" y="3752620"/>
            <a:ext cx="1332000" cy="79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95" name="logo placeholder 9">
            <a:extLst>
              <a:ext uri="{FF2B5EF4-FFF2-40B4-BE49-F238E27FC236}">
                <a16:creationId xmlns:a16="http://schemas.microsoft.com/office/drawing/2014/main" id="{A707DA6A-00FC-2E55-4B58-C515F7747583}"/>
              </a:ext>
            </a:extLst>
          </p:cNvPr>
          <p:cNvSpPr>
            <a:spLocks noGrp="1"/>
          </p:cNvSpPr>
          <p:nvPr>
            <p:ph type="pic" sz="quarter" idx="40"/>
          </p:nvPr>
        </p:nvSpPr>
        <p:spPr>
          <a:xfrm>
            <a:off x="5425916" y="3930049"/>
            <a:ext cx="816000" cy="437143"/>
          </a:xfrm>
        </p:spPr>
        <p:txBody>
          <a:bodyPr>
            <a:noAutofit/>
          </a:bodyPr>
          <a:lstStyle/>
          <a:p>
            <a:r>
              <a:rPr lang="de-DE"/>
              <a:t>Bild durch Klicken auf Symbol hinzufügen</a:t>
            </a:r>
            <a:endParaRPr lang="en-US"/>
          </a:p>
        </p:txBody>
      </p:sp>
      <p:sp>
        <p:nvSpPr>
          <p:cNvPr id="17" name="bg 8">
            <a:extLst>
              <a:ext uri="{FF2B5EF4-FFF2-40B4-BE49-F238E27FC236}">
                <a16:creationId xmlns:a16="http://schemas.microsoft.com/office/drawing/2014/main" id="{2F1957E5-8FBD-66A6-6EF8-D1682FBCD472}"/>
              </a:ext>
            </a:extLst>
          </p:cNvPr>
          <p:cNvSpPr>
            <a:spLocks noGrp="1"/>
          </p:cNvSpPr>
          <p:nvPr>
            <p:ph type="body" idx="52" hasCustomPrompt="1"/>
          </p:nvPr>
        </p:nvSpPr>
        <p:spPr>
          <a:xfrm>
            <a:off x="10309138" y="2634047"/>
            <a:ext cx="1332000" cy="79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81" name="logo placeholder 8">
            <a:extLst>
              <a:ext uri="{FF2B5EF4-FFF2-40B4-BE49-F238E27FC236}">
                <a16:creationId xmlns:a16="http://schemas.microsoft.com/office/drawing/2014/main" id="{2742F88B-F2B8-3938-AEFA-13FAD75C5CB4}"/>
              </a:ext>
            </a:extLst>
          </p:cNvPr>
          <p:cNvSpPr>
            <a:spLocks noGrp="1"/>
          </p:cNvSpPr>
          <p:nvPr>
            <p:ph type="pic" sz="quarter" idx="33"/>
          </p:nvPr>
        </p:nvSpPr>
        <p:spPr>
          <a:xfrm>
            <a:off x="10567138" y="2811476"/>
            <a:ext cx="816000" cy="437143"/>
          </a:xfrm>
        </p:spPr>
        <p:txBody>
          <a:bodyPr>
            <a:noAutofit/>
          </a:bodyPr>
          <a:lstStyle/>
          <a:p>
            <a:r>
              <a:rPr lang="de-DE"/>
              <a:t>Bild durch Klicken auf Symbol hinzufügen</a:t>
            </a:r>
            <a:endParaRPr lang="en-US"/>
          </a:p>
        </p:txBody>
      </p:sp>
      <p:sp>
        <p:nvSpPr>
          <p:cNvPr id="16" name="bg 7">
            <a:extLst>
              <a:ext uri="{FF2B5EF4-FFF2-40B4-BE49-F238E27FC236}">
                <a16:creationId xmlns:a16="http://schemas.microsoft.com/office/drawing/2014/main" id="{B5A7949C-DB69-EA74-D08C-832266508987}"/>
              </a:ext>
            </a:extLst>
          </p:cNvPr>
          <p:cNvSpPr>
            <a:spLocks noGrp="1"/>
          </p:cNvSpPr>
          <p:nvPr>
            <p:ph type="body" idx="51" hasCustomPrompt="1"/>
          </p:nvPr>
        </p:nvSpPr>
        <p:spPr>
          <a:xfrm>
            <a:off x="8585113" y="2634047"/>
            <a:ext cx="1332000" cy="79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83" name="logo placeholder 7">
            <a:extLst>
              <a:ext uri="{FF2B5EF4-FFF2-40B4-BE49-F238E27FC236}">
                <a16:creationId xmlns:a16="http://schemas.microsoft.com/office/drawing/2014/main" id="{05150DB6-4095-E54D-BF32-6D2966FB69E8}"/>
              </a:ext>
            </a:extLst>
          </p:cNvPr>
          <p:cNvSpPr>
            <a:spLocks noGrp="1"/>
          </p:cNvSpPr>
          <p:nvPr>
            <p:ph type="pic" sz="quarter" idx="34"/>
          </p:nvPr>
        </p:nvSpPr>
        <p:spPr>
          <a:xfrm>
            <a:off x="8843113" y="2811476"/>
            <a:ext cx="816000" cy="437143"/>
          </a:xfrm>
        </p:spPr>
        <p:txBody>
          <a:bodyPr>
            <a:noAutofit/>
          </a:bodyPr>
          <a:lstStyle/>
          <a:p>
            <a:r>
              <a:rPr lang="de-DE"/>
              <a:t>Bild durch Klicken auf Symbol hinzufügen</a:t>
            </a:r>
            <a:endParaRPr lang="en-US"/>
          </a:p>
        </p:txBody>
      </p:sp>
      <p:sp>
        <p:nvSpPr>
          <p:cNvPr id="15" name="bg 6">
            <a:extLst>
              <a:ext uri="{FF2B5EF4-FFF2-40B4-BE49-F238E27FC236}">
                <a16:creationId xmlns:a16="http://schemas.microsoft.com/office/drawing/2014/main" id="{B6643F99-4B27-9E06-3CB2-6EB4F9F92BC8}"/>
              </a:ext>
            </a:extLst>
          </p:cNvPr>
          <p:cNvSpPr>
            <a:spLocks noGrp="1"/>
          </p:cNvSpPr>
          <p:nvPr>
            <p:ph type="body" idx="50" hasCustomPrompt="1"/>
          </p:nvPr>
        </p:nvSpPr>
        <p:spPr>
          <a:xfrm>
            <a:off x="6899188" y="2634047"/>
            <a:ext cx="1332000" cy="79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85" name="logo placeholder 6">
            <a:extLst>
              <a:ext uri="{FF2B5EF4-FFF2-40B4-BE49-F238E27FC236}">
                <a16:creationId xmlns:a16="http://schemas.microsoft.com/office/drawing/2014/main" id="{D30CCF7D-673C-55D3-A468-D97F87EE006B}"/>
              </a:ext>
            </a:extLst>
          </p:cNvPr>
          <p:cNvSpPr>
            <a:spLocks noGrp="1"/>
          </p:cNvSpPr>
          <p:nvPr>
            <p:ph type="pic" sz="quarter" idx="35"/>
          </p:nvPr>
        </p:nvSpPr>
        <p:spPr>
          <a:xfrm>
            <a:off x="7157188" y="2811476"/>
            <a:ext cx="816000" cy="437143"/>
          </a:xfrm>
        </p:spPr>
        <p:txBody>
          <a:bodyPr>
            <a:noAutofit/>
          </a:bodyPr>
          <a:lstStyle/>
          <a:p>
            <a:r>
              <a:rPr lang="de-DE"/>
              <a:t>Bild durch Klicken auf Symbol hinzufügen</a:t>
            </a:r>
            <a:endParaRPr lang="en-US"/>
          </a:p>
        </p:txBody>
      </p:sp>
      <p:sp>
        <p:nvSpPr>
          <p:cNvPr id="8" name="bg 5">
            <a:extLst>
              <a:ext uri="{FF2B5EF4-FFF2-40B4-BE49-F238E27FC236}">
                <a16:creationId xmlns:a16="http://schemas.microsoft.com/office/drawing/2014/main" id="{52C754B6-E39D-BFC3-EF8B-A82297063826}"/>
              </a:ext>
            </a:extLst>
          </p:cNvPr>
          <p:cNvSpPr>
            <a:spLocks noGrp="1"/>
          </p:cNvSpPr>
          <p:nvPr>
            <p:ph type="body" idx="49" hasCustomPrompt="1"/>
          </p:nvPr>
        </p:nvSpPr>
        <p:spPr>
          <a:xfrm>
            <a:off x="5167916" y="2634047"/>
            <a:ext cx="1332000" cy="79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87" name="logo placeholder 5">
            <a:extLst>
              <a:ext uri="{FF2B5EF4-FFF2-40B4-BE49-F238E27FC236}">
                <a16:creationId xmlns:a16="http://schemas.microsoft.com/office/drawing/2014/main" id="{14EE79C8-1695-CEBE-76D4-0FB8EB61A337}"/>
              </a:ext>
            </a:extLst>
          </p:cNvPr>
          <p:cNvSpPr>
            <a:spLocks noGrp="1"/>
          </p:cNvSpPr>
          <p:nvPr>
            <p:ph type="pic" sz="quarter" idx="36"/>
          </p:nvPr>
        </p:nvSpPr>
        <p:spPr>
          <a:xfrm>
            <a:off x="5425916" y="2811476"/>
            <a:ext cx="816000" cy="437143"/>
          </a:xfrm>
        </p:spPr>
        <p:txBody>
          <a:bodyPr>
            <a:noAutofit/>
          </a:bodyPr>
          <a:lstStyle/>
          <a:p>
            <a:r>
              <a:rPr lang="de-DE"/>
              <a:t>Bild durch Klicken auf Symbol hinzufügen</a:t>
            </a:r>
            <a:endParaRPr lang="en-US"/>
          </a:p>
        </p:txBody>
      </p:sp>
      <p:sp>
        <p:nvSpPr>
          <p:cNvPr id="14" name="bg 4">
            <a:extLst>
              <a:ext uri="{FF2B5EF4-FFF2-40B4-BE49-F238E27FC236}">
                <a16:creationId xmlns:a16="http://schemas.microsoft.com/office/drawing/2014/main" id="{6DA49C04-E434-9490-D601-B73AC154ED21}"/>
              </a:ext>
            </a:extLst>
          </p:cNvPr>
          <p:cNvSpPr>
            <a:spLocks noGrp="1"/>
          </p:cNvSpPr>
          <p:nvPr>
            <p:ph type="body" idx="48" hasCustomPrompt="1"/>
          </p:nvPr>
        </p:nvSpPr>
        <p:spPr>
          <a:xfrm>
            <a:off x="10309138" y="1484313"/>
            <a:ext cx="1332000" cy="79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43" name="logo placeholder 4">
            <a:extLst>
              <a:ext uri="{FF2B5EF4-FFF2-40B4-BE49-F238E27FC236}">
                <a16:creationId xmlns:a16="http://schemas.microsoft.com/office/drawing/2014/main" id="{35EEE6D8-D74C-90B6-18D0-58976CD7A558}"/>
              </a:ext>
            </a:extLst>
          </p:cNvPr>
          <p:cNvSpPr>
            <a:spLocks noGrp="1"/>
          </p:cNvSpPr>
          <p:nvPr>
            <p:ph type="pic" sz="quarter" idx="29"/>
          </p:nvPr>
        </p:nvSpPr>
        <p:spPr>
          <a:xfrm>
            <a:off x="10567138" y="1661742"/>
            <a:ext cx="816000" cy="437143"/>
          </a:xfrm>
        </p:spPr>
        <p:txBody>
          <a:bodyPr>
            <a:noAutofit/>
          </a:bodyPr>
          <a:lstStyle/>
          <a:p>
            <a:r>
              <a:rPr lang="de-DE"/>
              <a:t>Bild durch Klicken auf Symbol hinzufügen</a:t>
            </a:r>
            <a:endParaRPr lang="en-US"/>
          </a:p>
        </p:txBody>
      </p:sp>
      <p:sp>
        <p:nvSpPr>
          <p:cNvPr id="11" name="bg 3">
            <a:extLst>
              <a:ext uri="{FF2B5EF4-FFF2-40B4-BE49-F238E27FC236}">
                <a16:creationId xmlns:a16="http://schemas.microsoft.com/office/drawing/2014/main" id="{EEDB5C89-515E-5DD5-416E-E0CF2E462DAC}"/>
              </a:ext>
            </a:extLst>
          </p:cNvPr>
          <p:cNvSpPr>
            <a:spLocks noGrp="1"/>
          </p:cNvSpPr>
          <p:nvPr>
            <p:ph type="body" idx="47" hasCustomPrompt="1"/>
          </p:nvPr>
        </p:nvSpPr>
        <p:spPr>
          <a:xfrm>
            <a:off x="8585113" y="1484313"/>
            <a:ext cx="1332000" cy="79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 </a:t>
            </a:r>
          </a:p>
        </p:txBody>
      </p:sp>
      <p:sp>
        <p:nvSpPr>
          <p:cNvPr id="75" name="logo placeholder 3">
            <a:extLst>
              <a:ext uri="{FF2B5EF4-FFF2-40B4-BE49-F238E27FC236}">
                <a16:creationId xmlns:a16="http://schemas.microsoft.com/office/drawing/2014/main" id="{7E3449CE-B4DE-5C1A-9668-C6F8F9E0DD38}"/>
              </a:ext>
            </a:extLst>
          </p:cNvPr>
          <p:cNvSpPr>
            <a:spLocks noGrp="1"/>
          </p:cNvSpPr>
          <p:nvPr>
            <p:ph type="pic" sz="quarter" idx="30"/>
          </p:nvPr>
        </p:nvSpPr>
        <p:spPr>
          <a:xfrm>
            <a:off x="8843113" y="1661742"/>
            <a:ext cx="816000" cy="437143"/>
          </a:xfrm>
        </p:spPr>
        <p:txBody>
          <a:bodyPr>
            <a:noAutofit/>
          </a:bodyPr>
          <a:lstStyle/>
          <a:p>
            <a:r>
              <a:rPr lang="de-DE"/>
              <a:t>Bild durch Klicken auf Symbol hinzufügen</a:t>
            </a:r>
            <a:endParaRPr lang="en-US"/>
          </a:p>
        </p:txBody>
      </p:sp>
      <p:sp>
        <p:nvSpPr>
          <p:cNvPr id="9" name="bg 2">
            <a:extLst>
              <a:ext uri="{FF2B5EF4-FFF2-40B4-BE49-F238E27FC236}">
                <a16:creationId xmlns:a16="http://schemas.microsoft.com/office/drawing/2014/main" id="{CAF1A436-24E9-836A-02BA-EB5325F9CD24}"/>
              </a:ext>
            </a:extLst>
          </p:cNvPr>
          <p:cNvSpPr>
            <a:spLocks noGrp="1"/>
          </p:cNvSpPr>
          <p:nvPr>
            <p:ph type="body" idx="46" hasCustomPrompt="1"/>
          </p:nvPr>
        </p:nvSpPr>
        <p:spPr>
          <a:xfrm>
            <a:off x="6899188" y="1484313"/>
            <a:ext cx="1332000" cy="79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77" name="logo placeholder 2">
            <a:extLst>
              <a:ext uri="{FF2B5EF4-FFF2-40B4-BE49-F238E27FC236}">
                <a16:creationId xmlns:a16="http://schemas.microsoft.com/office/drawing/2014/main" id="{D34CE9B8-818E-3DDB-F209-C7A33E0FDB0F}"/>
              </a:ext>
            </a:extLst>
          </p:cNvPr>
          <p:cNvSpPr>
            <a:spLocks noGrp="1"/>
          </p:cNvSpPr>
          <p:nvPr>
            <p:ph type="pic" sz="quarter" idx="31"/>
          </p:nvPr>
        </p:nvSpPr>
        <p:spPr>
          <a:xfrm>
            <a:off x="7157188" y="1661742"/>
            <a:ext cx="816000" cy="437143"/>
          </a:xfrm>
        </p:spPr>
        <p:txBody>
          <a:bodyPr>
            <a:noAutofit/>
          </a:bodyPr>
          <a:lstStyle/>
          <a:p>
            <a:r>
              <a:rPr lang="de-DE"/>
              <a:t>Bild durch Klicken auf Symbol hinzufügen</a:t>
            </a:r>
            <a:endParaRPr lang="en-US"/>
          </a:p>
        </p:txBody>
      </p:sp>
      <p:sp>
        <p:nvSpPr>
          <p:cNvPr id="6" name="bg 1">
            <a:extLst>
              <a:ext uri="{FF2B5EF4-FFF2-40B4-BE49-F238E27FC236}">
                <a16:creationId xmlns:a16="http://schemas.microsoft.com/office/drawing/2014/main" id="{AA362D31-8E31-4B44-0CC0-00BA36C0C98C}"/>
              </a:ext>
            </a:extLst>
          </p:cNvPr>
          <p:cNvSpPr>
            <a:spLocks noGrp="1"/>
          </p:cNvSpPr>
          <p:nvPr>
            <p:ph type="body" idx="45" hasCustomPrompt="1"/>
          </p:nvPr>
        </p:nvSpPr>
        <p:spPr>
          <a:xfrm>
            <a:off x="5167916" y="1484313"/>
            <a:ext cx="1332000" cy="792000"/>
          </a:xfrm>
          <a:prstGeom prst="roundRect">
            <a:avLst>
              <a:gd name="adj" fmla="val 2335"/>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79" name="logo placeholder 1">
            <a:extLst>
              <a:ext uri="{FF2B5EF4-FFF2-40B4-BE49-F238E27FC236}">
                <a16:creationId xmlns:a16="http://schemas.microsoft.com/office/drawing/2014/main" id="{39884650-5323-73EB-025E-43D4C2B46049}"/>
              </a:ext>
            </a:extLst>
          </p:cNvPr>
          <p:cNvSpPr>
            <a:spLocks noGrp="1"/>
          </p:cNvSpPr>
          <p:nvPr>
            <p:ph type="pic" sz="quarter" idx="32"/>
          </p:nvPr>
        </p:nvSpPr>
        <p:spPr>
          <a:xfrm>
            <a:off x="5425916" y="1661742"/>
            <a:ext cx="816000" cy="437143"/>
          </a:xfrm>
        </p:spPr>
        <p:txBody>
          <a:bodyPr>
            <a:noAutofit/>
          </a:bodyPr>
          <a:lstStyle/>
          <a:p>
            <a:r>
              <a:rPr lang="de-DE"/>
              <a:t>Bild durch Klicken auf Symbol hinzufügen</a:t>
            </a:r>
            <a:endParaRPr lang="en-US"/>
          </a:p>
        </p:txBody>
      </p:sp>
      <p:sp>
        <p:nvSpPr>
          <p:cNvPr id="2" name="text box">
            <a:extLst>
              <a:ext uri="{FF2B5EF4-FFF2-40B4-BE49-F238E27FC236}">
                <a16:creationId xmlns:a16="http://schemas.microsoft.com/office/drawing/2014/main" id="{3127AFCB-564D-C99A-02C5-7E817ED71F9C}"/>
              </a:ext>
            </a:extLst>
          </p:cNvPr>
          <p:cNvSpPr>
            <a:spLocks noGrp="1"/>
          </p:cNvSpPr>
          <p:nvPr>
            <p:ph type="body" idx="1"/>
          </p:nvPr>
        </p:nvSpPr>
        <p:spPr>
          <a:xfrm>
            <a:off x="550862" y="620712"/>
            <a:ext cx="4212028" cy="5545837"/>
          </a:xfrm>
          <a:prstGeom prst="roundRect">
            <a:avLst>
              <a:gd name="adj" fmla="val 1968"/>
            </a:avLst>
          </a:prstGeom>
          <a:gradFill>
            <a:gsLst>
              <a:gs pos="0">
                <a:srgbClr val="FF4B4B"/>
              </a:gs>
              <a:gs pos="100000">
                <a:srgbClr val="FF744F"/>
              </a:gs>
            </a:gsLst>
            <a:lin ang="18900000" scaled="0"/>
          </a:gradFill>
          <a:effectLst>
            <a:outerShdw blurRad="63500" algn="ctr" rotWithShape="0">
              <a:schemeClr val="accent4">
                <a:alpha val="50000"/>
              </a:schemeClr>
            </a:outerShdw>
          </a:effectLst>
        </p:spPr>
        <p:txBody>
          <a:bodyPr lIns="540000" tIns="432000" rIns="540000" anchor="t" anchorCtr="0"/>
          <a:lstStyle>
            <a:lvl1pPr marL="0" indent="0" algn="ctr">
              <a:lnSpc>
                <a:spcPct val="100000"/>
              </a:lnSpc>
              <a:spcBef>
                <a:spcPts val="0"/>
              </a:spcBef>
              <a:spcAft>
                <a:spcPts val="0"/>
              </a:spcAft>
              <a:buNone/>
              <a:defRPr sz="32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lgn="ctr"/>
            <a:r>
              <a:rPr lang="de-DE" sz="3200" b="1">
                <a:solidFill>
                  <a:schemeClr val="bg2"/>
                </a:solidFill>
                <a:latin typeface="Segoe UI Semibold" panose="020B0502040204020203" pitchFamily="34" charset="0"/>
                <a:cs typeface="Segoe UI Semibold" panose="020B0502040204020203" pitchFamily="34" charset="0"/>
              </a:rPr>
              <a:t>Mastertextformat bearbeiten</a:t>
            </a:r>
          </a:p>
        </p:txBody>
      </p:sp>
      <p:sp>
        <p:nvSpPr>
          <p:cNvPr id="3" name="quote sign">
            <a:extLst>
              <a:ext uri="{FF2B5EF4-FFF2-40B4-BE49-F238E27FC236}">
                <a16:creationId xmlns:a16="http://schemas.microsoft.com/office/drawing/2014/main" id="{97FE4737-22BE-D975-BF5B-83A7D52CF5D7}"/>
              </a:ext>
            </a:extLst>
          </p:cNvPr>
          <p:cNvSpPr/>
          <p:nvPr/>
        </p:nvSpPr>
        <p:spPr>
          <a:xfrm>
            <a:off x="903658" y="861601"/>
            <a:ext cx="681460" cy="576624"/>
          </a:xfrm>
          <a:custGeom>
            <a:avLst/>
            <a:gdLst/>
            <a:ahLst/>
            <a:cxnLst>
              <a:cxn ang="0">
                <a:pos x="wd2" y="hd2"/>
              </a:cxn>
              <a:cxn ang="5400000">
                <a:pos x="wd2" y="hd2"/>
              </a:cxn>
              <a:cxn ang="10800000">
                <a:pos x="wd2" y="hd2"/>
              </a:cxn>
              <a:cxn ang="16200000">
                <a:pos x="wd2" y="hd2"/>
              </a:cxn>
            </a:cxnLst>
            <a:rect l="0" t="0" r="r" b="b"/>
            <a:pathLst>
              <a:path w="21600" h="21600" extrusionOk="0">
                <a:moveTo>
                  <a:pt x="9906" y="12830"/>
                </a:moveTo>
                <a:cubicBezTo>
                  <a:pt x="9906" y="18677"/>
                  <a:pt x="9906" y="18677"/>
                  <a:pt x="9906" y="18677"/>
                </a:cubicBezTo>
                <a:cubicBezTo>
                  <a:pt x="9906" y="19489"/>
                  <a:pt x="9631" y="20301"/>
                  <a:pt x="9218" y="20788"/>
                </a:cubicBezTo>
                <a:cubicBezTo>
                  <a:pt x="8668" y="21438"/>
                  <a:pt x="8117" y="21600"/>
                  <a:pt x="7429" y="21600"/>
                </a:cubicBezTo>
                <a:cubicBezTo>
                  <a:pt x="2476" y="21600"/>
                  <a:pt x="2476" y="21600"/>
                  <a:pt x="2476" y="21600"/>
                </a:cubicBezTo>
                <a:cubicBezTo>
                  <a:pt x="1789" y="21600"/>
                  <a:pt x="1101" y="21438"/>
                  <a:pt x="688" y="20788"/>
                </a:cubicBezTo>
                <a:cubicBezTo>
                  <a:pt x="138" y="20301"/>
                  <a:pt x="0" y="19489"/>
                  <a:pt x="0" y="18677"/>
                </a:cubicBezTo>
                <a:cubicBezTo>
                  <a:pt x="0" y="7958"/>
                  <a:pt x="0" y="7958"/>
                  <a:pt x="0" y="7958"/>
                </a:cubicBezTo>
                <a:cubicBezTo>
                  <a:pt x="0" y="6821"/>
                  <a:pt x="138" y="5847"/>
                  <a:pt x="413" y="4872"/>
                </a:cubicBezTo>
                <a:cubicBezTo>
                  <a:pt x="825" y="3898"/>
                  <a:pt x="1238" y="3086"/>
                  <a:pt x="1926" y="2274"/>
                </a:cubicBezTo>
                <a:cubicBezTo>
                  <a:pt x="2476" y="1624"/>
                  <a:pt x="3164" y="1137"/>
                  <a:pt x="3990" y="650"/>
                </a:cubicBezTo>
                <a:cubicBezTo>
                  <a:pt x="4815" y="325"/>
                  <a:pt x="5641" y="0"/>
                  <a:pt x="6604" y="0"/>
                </a:cubicBezTo>
                <a:cubicBezTo>
                  <a:pt x="7429" y="0"/>
                  <a:pt x="7429" y="0"/>
                  <a:pt x="7429" y="0"/>
                </a:cubicBezTo>
                <a:cubicBezTo>
                  <a:pt x="7704" y="0"/>
                  <a:pt x="7842" y="162"/>
                  <a:pt x="7980" y="325"/>
                </a:cubicBezTo>
                <a:cubicBezTo>
                  <a:pt x="8255" y="487"/>
                  <a:pt x="8255" y="812"/>
                  <a:pt x="8255" y="974"/>
                </a:cubicBezTo>
                <a:cubicBezTo>
                  <a:pt x="8255" y="2923"/>
                  <a:pt x="8255" y="2923"/>
                  <a:pt x="8255" y="2923"/>
                </a:cubicBezTo>
                <a:cubicBezTo>
                  <a:pt x="8255" y="3248"/>
                  <a:pt x="8255" y="3573"/>
                  <a:pt x="7980" y="3735"/>
                </a:cubicBezTo>
                <a:cubicBezTo>
                  <a:pt x="7842" y="3898"/>
                  <a:pt x="7704" y="4060"/>
                  <a:pt x="7429" y="4060"/>
                </a:cubicBezTo>
                <a:cubicBezTo>
                  <a:pt x="6604" y="4060"/>
                  <a:pt x="6604" y="4060"/>
                  <a:pt x="6604" y="4060"/>
                </a:cubicBezTo>
                <a:cubicBezTo>
                  <a:pt x="5641" y="4060"/>
                  <a:pt x="4953" y="4385"/>
                  <a:pt x="4265" y="5197"/>
                </a:cubicBezTo>
                <a:cubicBezTo>
                  <a:pt x="3577" y="5847"/>
                  <a:pt x="3302" y="6821"/>
                  <a:pt x="3302" y="7958"/>
                </a:cubicBezTo>
                <a:cubicBezTo>
                  <a:pt x="3302" y="8445"/>
                  <a:pt x="3302" y="8445"/>
                  <a:pt x="3302" y="8445"/>
                </a:cubicBezTo>
                <a:cubicBezTo>
                  <a:pt x="3302" y="8770"/>
                  <a:pt x="3439" y="9095"/>
                  <a:pt x="3577" y="9420"/>
                </a:cubicBezTo>
                <a:cubicBezTo>
                  <a:pt x="3852" y="9744"/>
                  <a:pt x="4127" y="9907"/>
                  <a:pt x="4540" y="9907"/>
                </a:cubicBezTo>
                <a:cubicBezTo>
                  <a:pt x="7429" y="9907"/>
                  <a:pt x="7429" y="9907"/>
                  <a:pt x="7429" y="9907"/>
                </a:cubicBezTo>
                <a:cubicBezTo>
                  <a:pt x="8117" y="9907"/>
                  <a:pt x="8668" y="10232"/>
                  <a:pt x="9218" y="10719"/>
                </a:cubicBezTo>
                <a:cubicBezTo>
                  <a:pt x="9631" y="11368"/>
                  <a:pt x="9906" y="12018"/>
                  <a:pt x="9906" y="12830"/>
                </a:cubicBezTo>
                <a:close/>
                <a:moveTo>
                  <a:pt x="21600" y="12830"/>
                </a:moveTo>
                <a:cubicBezTo>
                  <a:pt x="21600" y="18677"/>
                  <a:pt x="21600" y="18677"/>
                  <a:pt x="21600" y="18677"/>
                </a:cubicBezTo>
                <a:cubicBezTo>
                  <a:pt x="21600" y="19489"/>
                  <a:pt x="21325" y="20301"/>
                  <a:pt x="20912" y="20788"/>
                </a:cubicBezTo>
                <a:cubicBezTo>
                  <a:pt x="20362" y="21438"/>
                  <a:pt x="19811" y="21600"/>
                  <a:pt x="19124" y="21600"/>
                </a:cubicBezTo>
                <a:cubicBezTo>
                  <a:pt x="14033" y="21600"/>
                  <a:pt x="14033" y="21600"/>
                  <a:pt x="14033" y="21600"/>
                </a:cubicBezTo>
                <a:cubicBezTo>
                  <a:pt x="13345" y="21600"/>
                  <a:pt x="12795" y="21438"/>
                  <a:pt x="12382" y="20788"/>
                </a:cubicBezTo>
                <a:cubicBezTo>
                  <a:pt x="11832" y="20301"/>
                  <a:pt x="11557" y="19489"/>
                  <a:pt x="11557" y="18677"/>
                </a:cubicBezTo>
                <a:cubicBezTo>
                  <a:pt x="11557" y="7958"/>
                  <a:pt x="11557" y="7958"/>
                  <a:pt x="11557" y="7958"/>
                </a:cubicBezTo>
                <a:cubicBezTo>
                  <a:pt x="11557" y="6821"/>
                  <a:pt x="11832" y="5847"/>
                  <a:pt x="12107" y="4872"/>
                </a:cubicBezTo>
                <a:cubicBezTo>
                  <a:pt x="12520" y="3898"/>
                  <a:pt x="12932" y="3086"/>
                  <a:pt x="13620" y="2274"/>
                </a:cubicBezTo>
                <a:cubicBezTo>
                  <a:pt x="14171" y="1624"/>
                  <a:pt x="14859" y="1137"/>
                  <a:pt x="15684" y="650"/>
                </a:cubicBezTo>
                <a:cubicBezTo>
                  <a:pt x="16510" y="325"/>
                  <a:pt x="17335" y="0"/>
                  <a:pt x="18298" y="0"/>
                </a:cubicBezTo>
                <a:cubicBezTo>
                  <a:pt x="19124" y="0"/>
                  <a:pt x="19124" y="0"/>
                  <a:pt x="19124" y="0"/>
                </a:cubicBezTo>
                <a:cubicBezTo>
                  <a:pt x="19261" y="0"/>
                  <a:pt x="19536" y="162"/>
                  <a:pt x="19674" y="325"/>
                </a:cubicBezTo>
                <a:cubicBezTo>
                  <a:pt x="19811" y="487"/>
                  <a:pt x="19949" y="812"/>
                  <a:pt x="19949" y="974"/>
                </a:cubicBezTo>
                <a:cubicBezTo>
                  <a:pt x="19949" y="2923"/>
                  <a:pt x="19949" y="2923"/>
                  <a:pt x="19949" y="2923"/>
                </a:cubicBezTo>
                <a:cubicBezTo>
                  <a:pt x="19949" y="3248"/>
                  <a:pt x="19811" y="3573"/>
                  <a:pt x="19674" y="3735"/>
                </a:cubicBezTo>
                <a:cubicBezTo>
                  <a:pt x="19536" y="3898"/>
                  <a:pt x="19261" y="4060"/>
                  <a:pt x="19124" y="4060"/>
                </a:cubicBezTo>
                <a:cubicBezTo>
                  <a:pt x="18298" y="4060"/>
                  <a:pt x="18298" y="4060"/>
                  <a:pt x="18298" y="4060"/>
                </a:cubicBezTo>
                <a:cubicBezTo>
                  <a:pt x="17335" y="4060"/>
                  <a:pt x="16510" y="4385"/>
                  <a:pt x="15959" y="5197"/>
                </a:cubicBezTo>
                <a:cubicBezTo>
                  <a:pt x="15271" y="5847"/>
                  <a:pt x="14996" y="6821"/>
                  <a:pt x="14996" y="7958"/>
                </a:cubicBezTo>
                <a:cubicBezTo>
                  <a:pt x="14996" y="8445"/>
                  <a:pt x="14996" y="8445"/>
                  <a:pt x="14996" y="8445"/>
                </a:cubicBezTo>
                <a:cubicBezTo>
                  <a:pt x="14996" y="8770"/>
                  <a:pt x="14996" y="9095"/>
                  <a:pt x="15271" y="9420"/>
                </a:cubicBezTo>
                <a:cubicBezTo>
                  <a:pt x="15546" y="9744"/>
                  <a:pt x="15822" y="9907"/>
                  <a:pt x="16234" y="9907"/>
                </a:cubicBezTo>
                <a:cubicBezTo>
                  <a:pt x="19124" y="9907"/>
                  <a:pt x="19124" y="9907"/>
                  <a:pt x="19124" y="9907"/>
                </a:cubicBezTo>
                <a:cubicBezTo>
                  <a:pt x="19811" y="9907"/>
                  <a:pt x="20362" y="10232"/>
                  <a:pt x="20912" y="10719"/>
                </a:cubicBezTo>
                <a:cubicBezTo>
                  <a:pt x="21325" y="11368"/>
                  <a:pt x="21600" y="12018"/>
                  <a:pt x="21600" y="12830"/>
                </a:cubicBezTo>
                <a:close/>
              </a:path>
            </a:pathLst>
          </a:custGeom>
          <a:solidFill>
            <a:schemeClr val="bg1">
              <a:alpha val="20000"/>
            </a:schemeClr>
          </a:solidFill>
          <a:ln>
            <a:noFill/>
          </a:ln>
        </p:spPr>
        <p:txBody>
          <a:bodyPr vert="horz" wrap="square" lIns="91428" tIns="45714" rIns="91428" bIns="45714" numCol="1" anchor="t" anchorCtr="0" compatLnSpc="1">
            <a:prstTxWarp prst="textNoShape">
              <a:avLst/>
            </a:prstTxWarp>
            <a:noAutofit/>
          </a:bodyPr>
          <a:lstStyle/>
          <a:p>
            <a:pPr algn="r"/>
            <a:endParaRPr sz="1224">
              <a:solidFill>
                <a:schemeClr val="tx1">
                  <a:lumMod val="65000"/>
                  <a:lumOff val="35000"/>
                </a:schemeClr>
              </a:solidFill>
            </a:endParaRPr>
          </a:p>
        </p:txBody>
      </p:sp>
      <p:sp>
        <p:nvSpPr>
          <p:cNvPr id="5" name="text below">
            <a:extLst>
              <a:ext uri="{FF2B5EF4-FFF2-40B4-BE49-F238E27FC236}">
                <a16:creationId xmlns:a16="http://schemas.microsoft.com/office/drawing/2014/main" id="{E27A12E3-EEA6-DB51-37EE-952D75E5F3F4}"/>
              </a:ext>
            </a:extLst>
          </p:cNvPr>
          <p:cNvSpPr>
            <a:spLocks noGrp="1"/>
          </p:cNvSpPr>
          <p:nvPr>
            <p:ph type="body" sz="quarter" idx="17"/>
          </p:nvPr>
        </p:nvSpPr>
        <p:spPr>
          <a:xfrm>
            <a:off x="1216876" y="3259551"/>
            <a:ext cx="2880000" cy="2376000"/>
          </a:xfrm>
          <a:prstGeom prst="rect">
            <a:avLst/>
          </a:prstGeom>
          <a:noFill/>
          <a:effectLst>
            <a:outerShdw blurRad="63500" algn="ctr" rotWithShape="0">
              <a:schemeClr val="accent4">
                <a:alpha val="50000"/>
              </a:schemeClr>
            </a:outerShdw>
          </a:effectLst>
        </p:spPr>
        <p:txBody>
          <a:bodyPr vert="horz" lIns="0" tIns="0" rIns="0" bIns="0" rtlCol="0" anchor="t">
            <a:noAutofit/>
          </a:bodyPr>
          <a:lstStyle>
            <a:lvl1pPr>
              <a:defRPr lang="en-US" sz="1200" i="0" dirty="0">
                <a:solidFill>
                  <a:schemeClr val="bg1"/>
                </a:solidFill>
                <a:latin typeface="Segoe UI Semilight" panose="020B0402040204020203" pitchFamily="34" charset="0"/>
                <a:cs typeface="Segoe UI Semilight" panose="020B0402040204020203" pitchFamily="34" charset="0"/>
              </a:defRPr>
            </a:lvl1pPr>
            <a:lvl2pPr>
              <a:buClr>
                <a:schemeClr val="bg1"/>
              </a:buClr>
              <a:defRPr lang="en-US" sz="1200" dirty="0">
                <a:solidFill>
                  <a:schemeClr val="bg1"/>
                </a:solidFill>
              </a:defRPr>
            </a:lvl2pPr>
            <a:lvl3pPr>
              <a:buClr>
                <a:schemeClr val="bg1"/>
              </a:buClr>
              <a:defRPr lang="en-US" sz="1200" dirty="0">
                <a:solidFill>
                  <a:schemeClr val="bg1"/>
                </a:solidFill>
              </a:defRPr>
            </a:lvl3pPr>
            <a:lvl4pPr>
              <a:defRPr lang="en-US" sz="1200" dirty="0">
                <a:solidFill>
                  <a:schemeClr val="bg1"/>
                </a:solidFill>
              </a:defRPr>
            </a:lvl4pPr>
            <a:lvl5pPr>
              <a:defRPr lang="en-US" sz="1600" dirty="0">
                <a:solidFill>
                  <a:schemeClr val="bg1"/>
                </a:solidFill>
              </a:defRPr>
            </a:lvl5pPr>
          </a:lstStyle>
          <a:p>
            <a:pPr lvl="0">
              <a:lnSpc>
                <a:spcPct val="100000"/>
              </a:lnSpc>
            </a:pPr>
            <a:r>
              <a:rPr lang="de-DE"/>
              <a:t>Mastertextformat bearbeiten</a:t>
            </a:r>
          </a:p>
        </p:txBody>
      </p:sp>
      <p:sp>
        <p:nvSpPr>
          <p:cNvPr id="4" name="navigation">
            <a:extLst>
              <a:ext uri="{FF2B5EF4-FFF2-40B4-BE49-F238E27FC236}">
                <a16:creationId xmlns:a16="http://schemas.microsoft.com/office/drawing/2014/main" id="{0D8B8A8A-402D-C8A1-B168-F98BC5DD2918}"/>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474778225"/>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  035 : 9 texts : 9 subtexts table">
    <p:spTree>
      <p:nvGrpSpPr>
        <p:cNvPr id="1" name=""/>
        <p:cNvGrpSpPr/>
        <p:nvPr/>
      </p:nvGrpSpPr>
      <p:grpSpPr>
        <a:xfrm>
          <a:off x="0" y="0"/>
          <a:ext cx="0" cy="0"/>
          <a:chOff x="0" y="0"/>
          <a:chExt cx="0" cy="0"/>
        </a:xfrm>
      </p:grpSpPr>
      <p:sp>
        <p:nvSpPr>
          <p:cNvPr id="20" name="slide number">
            <a:extLst>
              <a:ext uri="{FF2B5EF4-FFF2-40B4-BE49-F238E27FC236}">
                <a16:creationId xmlns:a16="http://schemas.microsoft.com/office/drawing/2014/main" id="{4EDD90E2-7D27-01D2-E549-61AA5124225D}"/>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21" name="footer">
            <a:extLst>
              <a:ext uri="{FF2B5EF4-FFF2-40B4-BE49-F238E27FC236}">
                <a16:creationId xmlns:a16="http://schemas.microsoft.com/office/drawing/2014/main" id="{4C379F78-EEFB-61C0-EFF4-B2B0EB7AA9D0}"/>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22" name="date">
            <a:extLst>
              <a:ext uri="{FF2B5EF4-FFF2-40B4-BE49-F238E27FC236}">
                <a16:creationId xmlns:a16="http://schemas.microsoft.com/office/drawing/2014/main" id="{39A2B28A-0BE2-76F0-E9F0-A9CB1C16FA65}"/>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45" name="text 9">
            <a:extLst>
              <a:ext uri="{FF2B5EF4-FFF2-40B4-BE49-F238E27FC236}">
                <a16:creationId xmlns:a16="http://schemas.microsoft.com/office/drawing/2014/main" id="{66A3462E-C486-481A-21E6-0F68EBD51B9F}"/>
              </a:ext>
            </a:extLst>
          </p:cNvPr>
          <p:cNvSpPr>
            <a:spLocks noGrp="1"/>
          </p:cNvSpPr>
          <p:nvPr>
            <p:ph type="body" idx="50"/>
          </p:nvPr>
        </p:nvSpPr>
        <p:spPr>
          <a:xfrm>
            <a:off x="8293138" y="497102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9" name="text 8">
            <a:extLst>
              <a:ext uri="{FF2B5EF4-FFF2-40B4-BE49-F238E27FC236}">
                <a16:creationId xmlns:a16="http://schemas.microsoft.com/office/drawing/2014/main" id="{0CE0BC1D-D256-6F58-D0E2-B49E48E01908}"/>
              </a:ext>
            </a:extLst>
          </p:cNvPr>
          <p:cNvSpPr>
            <a:spLocks noGrp="1"/>
          </p:cNvSpPr>
          <p:nvPr>
            <p:ph type="body" idx="48"/>
          </p:nvPr>
        </p:nvSpPr>
        <p:spPr>
          <a:xfrm>
            <a:off x="4549138" y="497102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8" name="text 7">
            <a:extLst>
              <a:ext uri="{FF2B5EF4-FFF2-40B4-BE49-F238E27FC236}">
                <a16:creationId xmlns:a16="http://schemas.microsoft.com/office/drawing/2014/main" id="{4286180F-18BA-96F9-0338-BC3BCC1C3BF1}"/>
              </a:ext>
            </a:extLst>
          </p:cNvPr>
          <p:cNvSpPr>
            <a:spLocks noGrp="1"/>
          </p:cNvSpPr>
          <p:nvPr>
            <p:ph type="body" idx="46"/>
          </p:nvPr>
        </p:nvSpPr>
        <p:spPr>
          <a:xfrm>
            <a:off x="851996" y="497102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7" name="text 6">
            <a:extLst>
              <a:ext uri="{FF2B5EF4-FFF2-40B4-BE49-F238E27FC236}">
                <a16:creationId xmlns:a16="http://schemas.microsoft.com/office/drawing/2014/main" id="{FA2EA2AE-37E9-3C8B-0FB6-5605ED402655}"/>
              </a:ext>
            </a:extLst>
          </p:cNvPr>
          <p:cNvSpPr>
            <a:spLocks noGrp="1"/>
          </p:cNvSpPr>
          <p:nvPr>
            <p:ph type="body" idx="44"/>
          </p:nvPr>
        </p:nvSpPr>
        <p:spPr>
          <a:xfrm>
            <a:off x="8293138" y="3405506"/>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6" name="text 5">
            <a:extLst>
              <a:ext uri="{FF2B5EF4-FFF2-40B4-BE49-F238E27FC236}">
                <a16:creationId xmlns:a16="http://schemas.microsoft.com/office/drawing/2014/main" id="{C0E17200-E0A1-E7DF-9AC9-E70558F0E115}"/>
              </a:ext>
            </a:extLst>
          </p:cNvPr>
          <p:cNvSpPr>
            <a:spLocks noGrp="1"/>
          </p:cNvSpPr>
          <p:nvPr>
            <p:ph type="body" idx="42"/>
          </p:nvPr>
        </p:nvSpPr>
        <p:spPr>
          <a:xfrm>
            <a:off x="4549138" y="3405506"/>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5" name="text 4">
            <a:extLst>
              <a:ext uri="{FF2B5EF4-FFF2-40B4-BE49-F238E27FC236}">
                <a16:creationId xmlns:a16="http://schemas.microsoft.com/office/drawing/2014/main" id="{534CD5F5-02DD-F1D1-5093-97A671F920C8}"/>
              </a:ext>
            </a:extLst>
          </p:cNvPr>
          <p:cNvSpPr>
            <a:spLocks noGrp="1"/>
          </p:cNvSpPr>
          <p:nvPr>
            <p:ph type="body" idx="40"/>
          </p:nvPr>
        </p:nvSpPr>
        <p:spPr>
          <a:xfrm>
            <a:off x="851996" y="3405506"/>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4" name="text 3">
            <a:extLst>
              <a:ext uri="{FF2B5EF4-FFF2-40B4-BE49-F238E27FC236}">
                <a16:creationId xmlns:a16="http://schemas.microsoft.com/office/drawing/2014/main" id="{7810A71F-77E2-A86A-AC75-1289914984B5}"/>
              </a:ext>
            </a:extLst>
          </p:cNvPr>
          <p:cNvSpPr>
            <a:spLocks noGrp="1"/>
          </p:cNvSpPr>
          <p:nvPr>
            <p:ph type="body" idx="38"/>
          </p:nvPr>
        </p:nvSpPr>
        <p:spPr>
          <a:xfrm>
            <a:off x="8293138" y="182104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2" name="text 2">
            <a:extLst>
              <a:ext uri="{FF2B5EF4-FFF2-40B4-BE49-F238E27FC236}">
                <a16:creationId xmlns:a16="http://schemas.microsoft.com/office/drawing/2014/main" id="{9F50B442-010B-5F54-4DC4-C86FE80AE092}"/>
              </a:ext>
            </a:extLst>
          </p:cNvPr>
          <p:cNvSpPr>
            <a:spLocks noGrp="1"/>
          </p:cNvSpPr>
          <p:nvPr>
            <p:ph type="body" idx="36"/>
          </p:nvPr>
        </p:nvSpPr>
        <p:spPr>
          <a:xfrm>
            <a:off x="4549138" y="182104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0" name="text 1">
            <a:extLst>
              <a:ext uri="{FF2B5EF4-FFF2-40B4-BE49-F238E27FC236}">
                <a16:creationId xmlns:a16="http://schemas.microsoft.com/office/drawing/2014/main" id="{99949031-B22E-AA1C-EED8-1CB03BD65C03}"/>
              </a:ext>
            </a:extLst>
          </p:cNvPr>
          <p:cNvSpPr>
            <a:spLocks noGrp="1"/>
          </p:cNvSpPr>
          <p:nvPr>
            <p:ph type="body" idx="34"/>
          </p:nvPr>
        </p:nvSpPr>
        <p:spPr>
          <a:xfrm>
            <a:off x="851996" y="182104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 name="title">
            <a:extLst>
              <a:ext uri="{FF2B5EF4-FFF2-40B4-BE49-F238E27FC236}">
                <a16:creationId xmlns:a16="http://schemas.microsoft.com/office/drawing/2014/main" id="{5519A8DE-5D27-118F-DCF9-2A48373C7466}"/>
              </a:ext>
            </a:extLst>
          </p:cNvPr>
          <p:cNvSpPr>
            <a:spLocks noGrp="1"/>
          </p:cNvSpPr>
          <p:nvPr>
            <p:ph type="title"/>
          </p:nvPr>
        </p:nvSpPr>
        <p:spPr/>
        <p:txBody>
          <a:bodyPr vert="horz"/>
          <a:lstStyle/>
          <a:p>
            <a:r>
              <a:rPr lang="de-DE"/>
              <a:t>Mastertitelformat bearbeiten</a:t>
            </a:r>
            <a:endParaRPr lang="en-US"/>
          </a:p>
        </p:txBody>
      </p:sp>
      <p:sp>
        <p:nvSpPr>
          <p:cNvPr id="6" name="navigation">
            <a:extLst>
              <a:ext uri="{FF2B5EF4-FFF2-40B4-BE49-F238E27FC236}">
                <a16:creationId xmlns:a16="http://schemas.microsoft.com/office/drawing/2014/main" id="{3435F76F-05FA-0797-ECF7-8C6766ACF85E}"/>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7939749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  036 : full page picture : 1 gradientextcircle : 2 ovaltexts">
    <p:spTree>
      <p:nvGrpSpPr>
        <p:cNvPr id="1" name=""/>
        <p:cNvGrpSpPr/>
        <p:nvPr/>
      </p:nvGrpSpPr>
      <p:grpSpPr>
        <a:xfrm>
          <a:off x="0" y="0"/>
          <a:ext cx="0" cy="0"/>
          <a:chOff x="0" y="0"/>
          <a:chExt cx="0" cy="0"/>
        </a:xfrm>
      </p:grpSpPr>
      <p:sp>
        <p:nvSpPr>
          <p:cNvPr id="3" name="picture full size">
            <a:extLst>
              <a:ext uri="{FF2B5EF4-FFF2-40B4-BE49-F238E27FC236}">
                <a16:creationId xmlns:a16="http://schemas.microsoft.com/office/drawing/2014/main" id="{940ECA07-E3D7-CFCA-C677-0BD690AD1BDA}"/>
              </a:ext>
            </a:extLst>
          </p:cNvPr>
          <p:cNvSpPr>
            <a:spLocks noGrp="1"/>
          </p:cNvSpPr>
          <p:nvPr>
            <p:ph type="pic" sz="quarter" idx="16"/>
          </p:nvPr>
        </p:nvSpPr>
        <p:spPr>
          <a:xfrm>
            <a:off x="0" y="0"/>
            <a:ext cx="12204000" cy="6858000"/>
          </a:xfrm>
          <a:solidFill>
            <a:schemeClr val="bg1"/>
          </a:solidFill>
          <a:ln w="3175">
            <a:solidFill>
              <a:schemeClr val="accent4">
                <a:lumMod val="75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Bild durch Klicken auf Symbol hinzufügen</a:t>
            </a:r>
            <a:endParaRPr lang="en-US" dirty="0"/>
          </a:p>
        </p:txBody>
      </p:sp>
      <p:sp>
        <p:nvSpPr>
          <p:cNvPr id="5" name="slide number">
            <a:extLst>
              <a:ext uri="{FF2B5EF4-FFF2-40B4-BE49-F238E27FC236}">
                <a16:creationId xmlns:a16="http://schemas.microsoft.com/office/drawing/2014/main" id="{82825752-3B68-DCA6-D70E-76EBF0465B68}"/>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3" name="footer">
            <a:extLst>
              <a:ext uri="{FF2B5EF4-FFF2-40B4-BE49-F238E27FC236}">
                <a16:creationId xmlns:a16="http://schemas.microsoft.com/office/drawing/2014/main" id="{CC9A477D-5A61-55EA-5B62-A43CEB429A5C}"/>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4" name="date">
            <a:extLst>
              <a:ext uri="{FF2B5EF4-FFF2-40B4-BE49-F238E27FC236}">
                <a16:creationId xmlns:a16="http://schemas.microsoft.com/office/drawing/2014/main" id="{C779AB2A-12B9-D58C-7C6A-E4F2B835421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 name="logo placeholder">
            <a:extLst>
              <a:ext uri="{FF2B5EF4-FFF2-40B4-BE49-F238E27FC236}">
                <a16:creationId xmlns:a16="http://schemas.microsoft.com/office/drawing/2014/main" id="{D57049B8-749E-2B11-2F57-B8905BF58621}"/>
              </a:ext>
            </a:extLst>
          </p:cNvPr>
          <p:cNvSpPr>
            <a:spLocks noGrp="1"/>
          </p:cNvSpPr>
          <p:nvPr>
            <p:ph type="pic" sz="quarter" idx="24"/>
          </p:nvPr>
        </p:nvSpPr>
        <p:spPr>
          <a:xfrm>
            <a:off x="415887" y="6218848"/>
            <a:ext cx="1169231" cy="450666"/>
          </a:xfrm>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Bild durch Klicken auf Symbol hinzufügen</a:t>
            </a:r>
            <a:endParaRPr lang="en-US" dirty="0"/>
          </a:p>
        </p:txBody>
      </p:sp>
      <p:sp>
        <p:nvSpPr>
          <p:cNvPr id="4" name="text oval right">
            <a:extLst>
              <a:ext uri="{FF2B5EF4-FFF2-40B4-BE49-F238E27FC236}">
                <a16:creationId xmlns:a16="http://schemas.microsoft.com/office/drawing/2014/main" id="{D77C710B-9746-E994-9BDC-7999D1E2921D}"/>
              </a:ext>
            </a:extLst>
          </p:cNvPr>
          <p:cNvSpPr>
            <a:spLocks noGrp="1"/>
          </p:cNvSpPr>
          <p:nvPr>
            <p:ph type="body" sz="quarter" idx="18"/>
          </p:nvPr>
        </p:nvSpPr>
        <p:spPr>
          <a:xfrm>
            <a:off x="8622495" y="2808000"/>
            <a:ext cx="4680000" cy="1980000"/>
          </a:xfrm>
          <a:prstGeom prst="roundRect">
            <a:avLst>
              <a:gd name="adj" fmla="val 50000"/>
            </a:avLst>
          </a:prstGeom>
          <a:solidFill>
            <a:schemeClr val="bg1"/>
          </a:solidFill>
          <a:ln w="6350">
            <a:solidFill>
              <a:schemeClr val="accent4">
                <a:lumMod val="90000"/>
              </a:schemeClr>
            </a:solidFill>
          </a:ln>
          <a:effectLst>
            <a:outerShdw blurRad="63500" algn="ctr" rotWithShape="0">
              <a:schemeClr val="accent4">
                <a:alpha val="50000"/>
              </a:schemeClr>
            </a:outerShdw>
          </a:effectLst>
        </p:spPr>
        <p:txBody>
          <a:bodyPr vert="horz" lIns="468000" tIns="0" rIns="1260000" bIns="0" rtlCol="0" anchor="ctr">
            <a:noAutofit/>
          </a:bodyPr>
          <a:lstStyle>
            <a:lvl1pPr>
              <a:defRPr lang="en-US" sz="1200" i="0" dirty="0">
                <a:solidFill>
                  <a:schemeClr val="tx1"/>
                </a:solidFill>
                <a:latin typeface="Segoe UI Semilight" panose="020B0402040204020203" pitchFamily="34" charset="0"/>
                <a:cs typeface="Segoe UI Semilight" panose="020B0402040204020203" pitchFamily="34" charset="0"/>
              </a:defRPr>
            </a:lvl1pPr>
            <a:lvl2pPr>
              <a:defRPr lang="en-US" sz="1200" dirty="0"/>
            </a:lvl2pPr>
            <a:lvl3pPr>
              <a:defRPr lang="en-US" sz="1200" dirty="0"/>
            </a:lvl3pPr>
            <a:lvl4pPr>
              <a:defRPr lang="en-US" sz="1200" dirty="0"/>
            </a:lvl4pPr>
            <a:lvl5pPr>
              <a:defRPr lang="en-US" sz="1200" dirty="0"/>
            </a:lvl5pPr>
          </a:lstStyle>
          <a:p>
            <a:pPr lvl="0">
              <a:lnSpc>
                <a:spcPct val="100000"/>
              </a:lnSpc>
            </a:pPr>
            <a:r>
              <a:rPr lang="de-DE"/>
              <a:t>Mastertextformat bearbeiten</a:t>
            </a:r>
          </a:p>
          <a:p>
            <a:pPr lvl="1">
              <a:lnSpc>
                <a:spcPct val="100000"/>
              </a:lnSpc>
            </a:pPr>
            <a:r>
              <a:rPr lang="de-DE"/>
              <a:t>Zweite Ebene</a:t>
            </a:r>
          </a:p>
          <a:p>
            <a:pPr lvl="2">
              <a:lnSpc>
                <a:spcPct val="100000"/>
              </a:lnSpc>
            </a:pPr>
            <a:r>
              <a:rPr lang="de-DE"/>
              <a:t>Dritte Ebene</a:t>
            </a:r>
          </a:p>
          <a:p>
            <a:pPr lvl="3">
              <a:lnSpc>
                <a:spcPct val="100000"/>
              </a:lnSpc>
            </a:pPr>
            <a:r>
              <a:rPr lang="de-DE"/>
              <a:t>Vierte Ebene</a:t>
            </a:r>
          </a:p>
          <a:p>
            <a:pPr lvl="4">
              <a:lnSpc>
                <a:spcPct val="100000"/>
              </a:lnSpc>
            </a:pPr>
            <a:r>
              <a:rPr lang="de-DE"/>
              <a:t>Fünfte Ebene</a:t>
            </a:r>
            <a:endParaRPr lang="en-US" dirty="0"/>
          </a:p>
        </p:txBody>
      </p:sp>
      <p:sp>
        <p:nvSpPr>
          <p:cNvPr id="11" name="text oval left">
            <a:extLst>
              <a:ext uri="{FF2B5EF4-FFF2-40B4-BE49-F238E27FC236}">
                <a16:creationId xmlns:a16="http://schemas.microsoft.com/office/drawing/2014/main" id="{A2CE80B2-8B9A-D0FB-C427-6D3137DAECA4}"/>
              </a:ext>
            </a:extLst>
          </p:cNvPr>
          <p:cNvSpPr>
            <a:spLocks noGrp="1"/>
          </p:cNvSpPr>
          <p:nvPr>
            <p:ph type="body" sz="quarter" idx="17"/>
          </p:nvPr>
        </p:nvSpPr>
        <p:spPr>
          <a:xfrm>
            <a:off x="4685495" y="2808000"/>
            <a:ext cx="4140000" cy="1980000"/>
          </a:xfrm>
          <a:prstGeom prst="roundRect">
            <a:avLst>
              <a:gd name="adj" fmla="val 50000"/>
            </a:avLst>
          </a:prstGeom>
          <a:solidFill>
            <a:schemeClr val="bg1"/>
          </a:solidFill>
          <a:ln w="6350">
            <a:solidFill>
              <a:schemeClr val="accent4">
                <a:lumMod val="90000"/>
              </a:schemeClr>
            </a:solidFill>
          </a:ln>
          <a:effectLst>
            <a:outerShdw blurRad="63500" algn="ctr" rotWithShape="0">
              <a:schemeClr val="accent4">
                <a:alpha val="50000"/>
              </a:schemeClr>
            </a:outerShdw>
          </a:effectLst>
        </p:spPr>
        <p:txBody>
          <a:bodyPr vert="horz" lIns="468000" tIns="0" rIns="180000" bIns="0" rtlCol="0" anchor="ctr">
            <a:noAutofit/>
          </a:bodyPr>
          <a:lstStyle>
            <a:lvl1pPr>
              <a:defRPr lang="en-US" sz="1200" i="0" dirty="0">
                <a:solidFill>
                  <a:schemeClr val="tx1"/>
                </a:solidFill>
                <a:latin typeface="Segoe UI Semilight" panose="020B0402040204020203" pitchFamily="34" charset="0"/>
                <a:cs typeface="Segoe UI Semilight" panose="020B0402040204020203" pitchFamily="34" charset="0"/>
              </a:defRPr>
            </a:lvl1pPr>
            <a:lvl2pPr>
              <a:defRPr lang="en-US" sz="1200" dirty="0"/>
            </a:lvl2pPr>
            <a:lvl3pPr>
              <a:defRPr lang="en-US" sz="1200" dirty="0"/>
            </a:lvl3pPr>
            <a:lvl4pPr>
              <a:defRPr lang="en-US" sz="1200" dirty="0"/>
            </a:lvl4pPr>
            <a:lvl5pPr>
              <a:defRPr lang="en-US" sz="1200" dirty="0"/>
            </a:lvl5pPr>
          </a:lstStyle>
          <a:p>
            <a:pPr lvl="0">
              <a:lnSpc>
                <a:spcPct val="100000"/>
              </a:lnSpc>
            </a:pPr>
            <a:r>
              <a:rPr lang="de-DE"/>
              <a:t>Mastertextformat bearbeiten</a:t>
            </a:r>
          </a:p>
          <a:p>
            <a:pPr lvl="1">
              <a:lnSpc>
                <a:spcPct val="100000"/>
              </a:lnSpc>
            </a:pPr>
            <a:r>
              <a:rPr lang="de-DE"/>
              <a:t>Zweite Ebene</a:t>
            </a:r>
          </a:p>
          <a:p>
            <a:pPr lvl="2">
              <a:lnSpc>
                <a:spcPct val="100000"/>
              </a:lnSpc>
            </a:pPr>
            <a:r>
              <a:rPr lang="de-DE"/>
              <a:t>Dritte Ebene</a:t>
            </a:r>
          </a:p>
          <a:p>
            <a:pPr lvl="3">
              <a:lnSpc>
                <a:spcPct val="100000"/>
              </a:lnSpc>
            </a:pPr>
            <a:r>
              <a:rPr lang="de-DE"/>
              <a:t>Vierte Ebene</a:t>
            </a:r>
          </a:p>
          <a:p>
            <a:pPr lvl="4">
              <a:lnSpc>
                <a:spcPct val="100000"/>
              </a:lnSpc>
            </a:pPr>
            <a:r>
              <a:rPr lang="de-DE"/>
              <a:t>Fünfte Ebene</a:t>
            </a:r>
            <a:endParaRPr lang="en-US" dirty="0"/>
          </a:p>
        </p:txBody>
      </p:sp>
      <p:sp>
        <p:nvSpPr>
          <p:cNvPr id="15" name="text circle">
            <a:extLst>
              <a:ext uri="{FF2B5EF4-FFF2-40B4-BE49-F238E27FC236}">
                <a16:creationId xmlns:a16="http://schemas.microsoft.com/office/drawing/2014/main" id="{3C8F43FB-572A-C67D-FEEB-4E1A842D7AF3}"/>
              </a:ext>
            </a:extLst>
          </p:cNvPr>
          <p:cNvSpPr>
            <a:spLocks noGrp="1"/>
          </p:cNvSpPr>
          <p:nvPr>
            <p:ph type="body" idx="1"/>
          </p:nvPr>
        </p:nvSpPr>
        <p:spPr>
          <a:xfrm>
            <a:off x="2031317" y="2628000"/>
            <a:ext cx="2340000" cy="2340000"/>
          </a:xfrm>
          <a:prstGeom prst="flowChartConnector">
            <a:avLst/>
          </a:prstGeom>
          <a:solidFill>
            <a:schemeClr val="bg1"/>
          </a:solidFill>
          <a:ln w="6350">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1">
            <a:noAutofit/>
          </a:bodyPr>
          <a:lstStyle>
            <a:lvl1pPr>
              <a:defRPr kumimoji="0" lang="en-US" sz="1600" u="none" strike="noStrike" cap="none" spc="0" normalizeH="0" dirty="0">
                <a:ln>
                  <a:noFill/>
                </a:ln>
                <a:solidFill>
                  <a:schemeClr val="bg1"/>
                </a:solidFill>
                <a:effectLst/>
                <a:uLnTx/>
                <a:uFillTx/>
                <a:latin typeface="+mj-lt"/>
                <a:cs typeface="Segoe UI Semibold" panose="020B0502040204020203" pitchFamily="34" charset="0"/>
              </a:defRPr>
            </a:lvl1pPr>
          </a:lstStyle>
          <a:p>
            <a:pPr lvl="0" algn="ctr"/>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04138522-C695-4395-F275-BCB54A94B66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2110602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  003 : 3 contents">
    <p:spTree>
      <p:nvGrpSpPr>
        <p:cNvPr id="1" name=""/>
        <p:cNvGrpSpPr/>
        <p:nvPr/>
      </p:nvGrpSpPr>
      <p:grpSpPr>
        <a:xfrm>
          <a:off x="0" y="0"/>
          <a:ext cx="0" cy="0"/>
          <a:chOff x="0" y="0"/>
          <a:chExt cx="0" cy="0"/>
        </a:xfrm>
      </p:grpSpPr>
      <p:sp>
        <p:nvSpPr>
          <p:cNvPr id="11" name="slide number">
            <a:extLst>
              <a:ext uri="{FF2B5EF4-FFF2-40B4-BE49-F238E27FC236}">
                <a16:creationId xmlns:a16="http://schemas.microsoft.com/office/drawing/2014/main" id="{BC8BA2C0-FF86-7160-B605-4AFD8142AAA5}"/>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268B1DC0-E2F4-964B-BEBC-F781A34B417B}"/>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020BFB18-B358-A527-A325-CBA53A65BE2E}"/>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8218863" y="1475999"/>
            <a:ext cx="3420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4379432" y="1475999"/>
            <a:ext cx="3420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75999"/>
            <a:ext cx="3420000" cy="4680000"/>
          </a:xfrm>
          <a:prstGeom prst="rect">
            <a:avLst/>
          </a:prstGeom>
          <a:noFill/>
        </p:spPr>
        <p:txBody>
          <a:bodyPr vert="horz" lIns="0" tIns="0" rIns="0" bIns="0" rtlCol="0">
            <a:noAutofit/>
          </a:bodyPr>
          <a:lstStyle>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5" name="navigation">
            <a:extLst>
              <a:ext uri="{FF2B5EF4-FFF2-40B4-BE49-F238E27FC236}">
                <a16:creationId xmlns:a16="http://schemas.microsoft.com/office/drawing/2014/main" id="{151C2032-2FFD-81F1-32B0-C2E2F77BD519}"/>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4123159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  036a : full page picture : circle : 3 ovaltexts">
    <p:spTree>
      <p:nvGrpSpPr>
        <p:cNvPr id="1" name=""/>
        <p:cNvGrpSpPr/>
        <p:nvPr/>
      </p:nvGrpSpPr>
      <p:grpSpPr>
        <a:xfrm>
          <a:off x="0" y="0"/>
          <a:ext cx="0" cy="0"/>
          <a:chOff x="0" y="0"/>
          <a:chExt cx="0" cy="0"/>
        </a:xfrm>
      </p:grpSpPr>
      <p:sp>
        <p:nvSpPr>
          <p:cNvPr id="21" name="picture full size">
            <a:extLst>
              <a:ext uri="{FF2B5EF4-FFF2-40B4-BE49-F238E27FC236}">
                <a16:creationId xmlns:a16="http://schemas.microsoft.com/office/drawing/2014/main" id="{F6E1902A-473C-3F19-AAE4-9B651FE77A68}"/>
              </a:ext>
            </a:extLst>
          </p:cNvPr>
          <p:cNvSpPr>
            <a:spLocks noGrp="1"/>
          </p:cNvSpPr>
          <p:nvPr>
            <p:ph type="pic" sz="quarter" idx="16" hasCustomPrompt="1"/>
          </p:nvPr>
        </p:nvSpPr>
        <p:spPr>
          <a:xfrm>
            <a:off x="-12000" y="-12700"/>
            <a:ext cx="12204000" cy="6870700"/>
          </a:xfrm>
          <a:solidFill>
            <a:schemeClr val="bg1"/>
          </a:solidFill>
          <a:ln w="3175">
            <a:solidFill>
              <a:schemeClr val="accent4">
                <a:lumMod val="75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Bild</a:t>
            </a:r>
            <a:endParaRPr lang="en-US" dirty="0"/>
          </a:p>
        </p:txBody>
      </p:sp>
      <p:sp>
        <p:nvSpPr>
          <p:cNvPr id="5" name="slide number">
            <a:extLst>
              <a:ext uri="{FF2B5EF4-FFF2-40B4-BE49-F238E27FC236}">
                <a16:creationId xmlns:a16="http://schemas.microsoft.com/office/drawing/2014/main" id="{82825752-3B68-DCA6-D70E-76EBF0465B68}"/>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3" name="footer">
            <a:extLst>
              <a:ext uri="{FF2B5EF4-FFF2-40B4-BE49-F238E27FC236}">
                <a16:creationId xmlns:a16="http://schemas.microsoft.com/office/drawing/2014/main" id="{CC9A477D-5A61-55EA-5B62-A43CEB429A5C}"/>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4" name="date">
            <a:extLst>
              <a:ext uri="{FF2B5EF4-FFF2-40B4-BE49-F238E27FC236}">
                <a16:creationId xmlns:a16="http://schemas.microsoft.com/office/drawing/2014/main" id="{C779AB2A-12B9-D58C-7C6A-E4F2B835421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4" name="logo placeholder">
            <a:extLst>
              <a:ext uri="{FF2B5EF4-FFF2-40B4-BE49-F238E27FC236}">
                <a16:creationId xmlns:a16="http://schemas.microsoft.com/office/drawing/2014/main" id="{E9BCCCA7-B9AF-F498-40C4-869BA49F9555}"/>
              </a:ext>
            </a:extLst>
          </p:cNvPr>
          <p:cNvSpPr>
            <a:spLocks noGrp="1"/>
          </p:cNvSpPr>
          <p:nvPr>
            <p:ph type="pic" sz="quarter" idx="24"/>
          </p:nvPr>
        </p:nvSpPr>
        <p:spPr>
          <a:xfrm>
            <a:off x="415887" y="6218848"/>
            <a:ext cx="1169231" cy="450666"/>
          </a:xfrm>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Bild durch Klicken auf Symbol hinzufügen</a:t>
            </a:r>
            <a:endParaRPr lang="en-US" dirty="0"/>
          </a:p>
        </p:txBody>
      </p:sp>
      <p:sp>
        <p:nvSpPr>
          <p:cNvPr id="16" name="text 3">
            <a:extLst>
              <a:ext uri="{FF2B5EF4-FFF2-40B4-BE49-F238E27FC236}">
                <a16:creationId xmlns:a16="http://schemas.microsoft.com/office/drawing/2014/main" id="{3E6AA0F0-30F8-5088-2044-347A63207708}"/>
              </a:ext>
            </a:extLst>
          </p:cNvPr>
          <p:cNvSpPr>
            <a:spLocks noGrp="1"/>
          </p:cNvSpPr>
          <p:nvPr>
            <p:ph type="body" sz="quarter" idx="20"/>
          </p:nvPr>
        </p:nvSpPr>
        <p:spPr>
          <a:xfrm>
            <a:off x="4225137" y="4627545"/>
            <a:ext cx="7128000" cy="900000"/>
          </a:xfrm>
          <a:prstGeom prst="roundRect">
            <a:avLst>
              <a:gd name="adj" fmla="val 50000"/>
            </a:avLst>
          </a:prstGeom>
          <a:noFill/>
          <a:ln w="6350">
            <a:solidFill>
              <a:schemeClr val="tx1"/>
            </a:solidFill>
          </a:ln>
          <a:effectLst>
            <a:outerShdw blurRad="63500" algn="ctr" rotWithShape="0">
              <a:schemeClr val="accent4">
                <a:alpha val="50000"/>
              </a:schemeClr>
            </a:outerShdw>
          </a:effectLst>
        </p:spPr>
        <p:txBody>
          <a:bodyPr vert="horz" lIns="468000" tIns="0" rIns="180000" bIns="0" rtlCol="0" anchor="ctr">
            <a:noAutofit/>
          </a:bodyPr>
          <a:lstStyle>
            <a:lvl1pPr>
              <a:defRPr lang="en-US" sz="1400" i="0" dirty="0">
                <a:solidFill>
                  <a:schemeClr val="tx1"/>
                </a:solidFill>
                <a:latin typeface="Segoe UI Semilight" panose="020B0402040204020203" pitchFamily="34" charset="0"/>
                <a:cs typeface="Segoe UI Semilight" panose="020B0402040204020203" pitchFamily="34" charset="0"/>
              </a:defRPr>
            </a:lvl1pPr>
            <a:lvl2pPr>
              <a:defRPr lang="en-US" sz="1400" dirty="0">
                <a:solidFill>
                  <a:schemeClr val="tx1"/>
                </a:solidFill>
              </a:defRPr>
            </a:lvl2pPr>
            <a:lvl3pPr>
              <a:defRPr lang="en-US" sz="1400" dirty="0">
                <a:solidFill>
                  <a:schemeClr val="tx1"/>
                </a:solidFill>
              </a:defRPr>
            </a:lvl3pPr>
            <a:lvl4pPr>
              <a:defRPr lang="en-US" sz="1400" dirty="0">
                <a:solidFill>
                  <a:schemeClr val="tx1"/>
                </a:solidFill>
              </a:defRPr>
            </a:lvl4pPr>
            <a:lvl5pPr>
              <a:defRPr lang="en-US" sz="1400" dirty="0">
                <a:solidFill>
                  <a:schemeClr val="tx1"/>
                </a:solidFill>
              </a:defRPr>
            </a:lvl5pPr>
          </a:lstStyle>
          <a:p>
            <a:pPr lvl="0">
              <a:lnSpc>
                <a:spcPct val="100000"/>
              </a:lnSpc>
            </a:pPr>
            <a:r>
              <a:rPr lang="de-DE"/>
              <a:t>Mastertextformat bearbeiten</a:t>
            </a:r>
          </a:p>
        </p:txBody>
      </p:sp>
      <p:sp>
        <p:nvSpPr>
          <p:cNvPr id="9" name="text 2">
            <a:extLst>
              <a:ext uri="{FF2B5EF4-FFF2-40B4-BE49-F238E27FC236}">
                <a16:creationId xmlns:a16="http://schemas.microsoft.com/office/drawing/2014/main" id="{57DAAD7C-B3E0-4642-94DB-417D92D974BE}"/>
              </a:ext>
            </a:extLst>
          </p:cNvPr>
          <p:cNvSpPr>
            <a:spLocks noGrp="1"/>
          </p:cNvSpPr>
          <p:nvPr>
            <p:ph type="body" sz="quarter" idx="19"/>
          </p:nvPr>
        </p:nvSpPr>
        <p:spPr>
          <a:xfrm>
            <a:off x="4225137" y="3351882"/>
            <a:ext cx="7128000" cy="900000"/>
          </a:xfrm>
          <a:prstGeom prst="roundRect">
            <a:avLst>
              <a:gd name="adj" fmla="val 50000"/>
            </a:avLst>
          </a:prstGeom>
          <a:noFill/>
          <a:ln w="6350">
            <a:solidFill>
              <a:schemeClr val="tx1"/>
            </a:solidFill>
          </a:ln>
          <a:effectLst>
            <a:outerShdw blurRad="63500" algn="ctr" rotWithShape="0">
              <a:schemeClr val="accent4">
                <a:alpha val="50000"/>
              </a:schemeClr>
            </a:outerShdw>
          </a:effectLst>
        </p:spPr>
        <p:txBody>
          <a:bodyPr vert="horz" lIns="468000" tIns="0" rIns="180000" bIns="0" rtlCol="0" anchor="ctr">
            <a:noAutofit/>
          </a:bodyPr>
          <a:lstStyle>
            <a:lvl1pPr>
              <a:defRPr lang="en-US" sz="1400" i="0" dirty="0">
                <a:solidFill>
                  <a:schemeClr val="tx1"/>
                </a:solidFill>
                <a:latin typeface="Segoe UI Semilight" panose="020B0402040204020203" pitchFamily="34" charset="0"/>
                <a:cs typeface="Segoe UI Semilight" panose="020B0402040204020203" pitchFamily="34" charset="0"/>
              </a:defRPr>
            </a:lvl1pPr>
            <a:lvl2pPr>
              <a:defRPr lang="en-US" sz="1400" dirty="0">
                <a:solidFill>
                  <a:schemeClr val="tx1"/>
                </a:solidFill>
              </a:defRPr>
            </a:lvl2pPr>
            <a:lvl3pPr>
              <a:defRPr lang="en-US" sz="1400" dirty="0">
                <a:solidFill>
                  <a:schemeClr val="tx1"/>
                </a:solidFill>
              </a:defRPr>
            </a:lvl3pPr>
            <a:lvl4pPr>
              <a:defRPr lang="en-US" sz="1400" dirty="0">
                <a:solidFill>
                  <a:schemeClr val="tx1"/>
                </a:solidFill>
              </a:defRPr>
            </a:lvl4pPr>
            <a:lvl5pPr>
              <a:defRPr lang="en-US" sz="1400" dirty="0">
                <a:solidFill>
                  <a:schemeClr val="tx1"/>
                </a:solidFill>
              </a:defRPr>
            </a:lvl5pPr>
          </a:lstStyle>
          <a:p>
            <a:pPr lvl="0">
              <a:lnSpc>
                <a:spcPct val="100000"/>
              </a:lnSpc>
            </a:pPr>
            <a:r>
              <a:rPr lang="de-DE"/>
              <a:t>Mastertextformat bearbeiten</a:t>
            </a:r>
          </a:p>
        </p:txBody>
      </p:sp>
      <p:sp>
        <p:nvSpPr>
          <p:cNvPr id="6" name="text 1">
            <a:extLst>
              <a:ext uri="{FF2B5EF4-FFF2-40B4-BE49-F238E27FC236}">
                <a16:creationId xmlns:a16="http://schemas.microsoft.com/office/drawing/2014/main" id="{F2463AE6-9794-D7A8-A678-315AD5F33D52}"/>
              </a:ext>
            </a:extLst>
          </p:cNvPr>
          <p:cNvSpPr>
            <a:spLocks noGrp="1"/>
          </p:cNvSpPr>
          <p:nvPr>
            <p:ph type="body" sz="quarter" idx="17"/>
          </p:nvPr>
        </p:nvSpPr>
        <p:spPr>
          <a:xfrm>
            <a:off x="4225137" y="2076218"/>
            <a:ext cx="7128000" cy="900000"/>
          </a:xfrm>
          <a:prstGeom prst="roundRect">
            <a:avLst>
              <a:gd name="adj" fmla="val 50000"/>
            </a:avLst>
          </a:prstGeom>
          <a:noFill/>
          <a:ln w="6350">
            <a:solidFill>
              <a:schemeClr val="tx1"/>
            </a:solidFill>
          </a:ln>
          <a:effectLst>
            <a:outerShdw blurRad="63500" algn="ctr" rotWithShape="0">
              <a:schemeClr val="accent4">
                <a:alpha val="50000"/>
              </a:schemeClr>
            </a:outerShdw>
          </a:effectLst>
        </p:spPr>
        <p:txBody>
          <a:bodyPr vert="horz" lIns="468000" tIns="0" rIns="180000" bIns="0" rtlCol="0" anchor="ctr">
            <a:noAutofit/>
          </a:bodyPr>
          <a:lstStyle>
            <a:lvl1pPr>
              <a:defRPr lang="en-US" sz="1400" i="0" dirty="0">
                <a:solidFill>
                  <a:schemeClr val="tx1"/>
                </a:solidFill>
                <a:latin typeface="Segoe UI Semilight" panose="020B0402040204020203" pitchFamily="34" charset="0"/>
                <a:cs typeface="Segoe UI Semilight" panose="020B0402040204020203" pitchFamily="34" charset="0"/>
              </a:defRPr>
            </a:lvl1pPr>
            <a:lvl2pPr>
              <a:defRPr lang="en-US" sz="1400" dirty="0">
                <a:solidFill>
                  <a:schemeClr val="tx1"/>
                </a:solidFill>
              </a:defRPr>
            </a:lvl2pPr>
            <a:lvl3pPr>
              <a:defRPr lang="en-US" sz="1400" dirty="0">
                <a:solidFill>
                  <a:schemeClr val="tx1"/>
                </a:solidFill>
              </a:defRPr>
            </a:lvl3pPr>
            <a:lvl4pPr>
              <a:defRPr lang="en-US" sz="1400" dirty="0">
                <a:solidFill>
                  <a:schemeClr val="tx1"/>
                </a:solidFill>
              </a:defRPr>
            </a:lvl4pPr>
            <a:lvl5pPr>
              <a:defRPr lang="en-US" sz="1400" dirty="0">
                <a:solidFill>
                  <a:schemeClr val="tx1"/>
                </a:solidFill>
              </a:defRPr>
            </a:lvl5pPr>
          </a:lstStyle>
          <a:p>
            <a:pPr lvl="0">
              <a:lnSpc>
                <a:spcPct val="100000"/>
              </a:lnSpc>
            </a:pPr>
            <a:r>
              <a:rPr lang="de-DE"/>
              <a:t>Mastertextformat bearbeiten</a:t>
            </a:r>
          </a:p>
        </p:txBody>
      </p:sp>
      <p:sp>
        <p:nvSpPr>
          <p:cNvPr id="8" name="circle">
            <a:extLst>
              <a:ext uri="{FF2B5EF4-FFF2-40B4-BE49-F238E27FC236}">
                <a16:creationId xmlns:a16="http://schemas.microsoft.com/office/drawing/2014/main" id="{4BF98BFE-CCD8-B635-3FD5-A9F3F3E61F6E}"/>
              </a:ext>
            </a:extLst>
          </p:cNvPr>
          <p:cNvSpPr>
            <a:spLocks noGrp="1"/>
          </p:cNvSpPr>
          <p:nvPr>
            <p:ph type="body" idx="1"/>
          </p:nvPr>
        </p:nvSpPr>
        <p:spPr>
          <a:xfrm>
            <a:off x="540000" y="2628000"/>
            <a:ext cx="2340000" cy="2340000"/>
          </a:xfrm>
          <a:prstGeom prst="flowChartConnector">
            <a:avLst/>
          </a:prstGeom>
          <a:noFill/>
          <a:ln w="6350">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1">
            <a:noAutofit/>
          </a:bodyPr>
          <a:lstStyle>
            <a:lvl1pPr>
              <a:defRPr kumimoji="0" lang="en-US" sz="1600" u="none" strike="noStrike" cap="none" spc="0" normalizeH="0">
                <a:ln>
                  <a:noFill/>
                </a:ln>
                <a:solidFill>
                  <a:schemeClr val="tx1"/>
                </a:solidFill>
                <a:effectLst/>
                <a:uLnTx/>
                <a:uFillTx/>
                <a:latin typeface="+mj-lt"/>
                <a:cs typeface="Segoe UI Semibold" panose="020B0502040204020203" pitchFamily="34" charset="0"/>
              </a:defRPr>
            </a:lvl1pPr>
          </a:lstStyle>
          <a:p>
            <a:pPr lvl="0" algn="ctr"/>
            <a:r>
              <a:rPr lang="de-DE"/>
              <a:t>Mastertextformat bearbeiten</a:t>
            </a:r>
          </a:p>
        </p:txBody>
      </p:sp>
      <p:cxnSp>
        <p:nvCxnSpPr>
          <p:cNvPr id="19" name="Gewinkelte Verbindung 9">
            <a:extLst>
              <a:ext uri="{FF2B5EF4-FFF2-40B4-BE49-F238E27FC236}">
                <a16:creationId xmlns:a16="http://schemas.microsoft.com/office/drawing/2014/main" id="{62C4CD96-ED4A-60EB-5AC4-6B3D5997C359}"/>
              </a:ext>
            </a:extLst>
          </p:cNvPr>
          <p:cNvCxnSpPr>
            <a:cxnSpLocks/>
            <a:stCxn id="8" idx="6"/>
            <a:endCxn id="16" idx="1"/>
          </p:cNvCxnSpPr>
          <p:nvPr/>
        </p:nvCxnSpPr>
        <p:spPr>
          <a:xfrm>
            <a:off x="2880000" y="3798000"/>
            <a:ext cx="1345137" cy="1279545"/>
          </a:xfrm>
          <a:prstGeom prst="bentConnector3">
            <a:avLst>
              <a:gd name="adj1" fmla="val 50000"/>
            </a:avLst>
          </a:prstGeom>
          <a:ln w="22225" cap="rnd">
            <a:noFill/>
            <a:round/>
          </a:ln>
        </p:spPr>
        <p:style>
          <a:lnRef idx="1">
            <a:schemeClr val="accent1"/>
          </a:lnRef>
          <a:fillRef idx="0">
            <a:schemeClr val="accent1"/>
          </a:fillRef>
          <a:effectRef idx="0">
            <a:schemeClr val="accent1"/>
          </a:effectRef>
          <a:fontRef idx="minor">
            <a:schemeClr val="tx1"/>
          </a:fontRef>
        </p:style>
      </p:cxnSp>
      <p:cxnSp>
        <p:nvCxnSpPr>
          <p:cNvPr id="18" name="Gewinkelte Verbindung 7">
            <a:extLst>
              <a:ext uri="{FF2B5EF4-FFF2-40B4-BE49-F238E27FC236}">
                <a16:creationId xmlns:a16="http://schemas.microsoft.com/office/drawing/2014/main" id="{863812CE-E3F7-4AD8-BFAC-BC944F27BBB5}"/>
              </a:ext>
            </a:extLst>
          </p:cNvPr>
          <p:cNvCxnSpPr>
            <a:cxnSpLocks/>
            <a:stCxn id="8" idx="6"/>
            <a:endCxn id="6" idx="1"/>
          </p:cNvCxnSpPr>
          <p:nvPr/>
        </p:nvCxnSpPr>
        <p:spPr>
          <a:xfrm flipV="1">
            <a:off x="2880000" y="2526218"/>
            <a:ext cx="1345137" cy="1271782"/>
          </a:xfrm>
          <a:prstGeom prst="bentConnector3">
            <a:avLst>
              <a:gd name="adj1" fmla="val 50000"/>
            </a:avLst>
          </a:prstGeom>
          <a:ln w="19050" cap="rnd">
            <a:noFill/>
            <a:round/>
          </a:ln>
        </p:spPr>
        <p:style>
          <a:lnRef idx="1">
            <a:schemeClr val="accent1"/>
          </a:lnRef>
          <a:fillRef idx="0">
            <a:schemeClr val="accent1"/>
          </a:fillRef>
          <a:effectRef idx="0">
            <a:schemeClr val="accent1"/>
          </a:effectRef>
          <a:fontRef idx="minor">
            <a:schemeClr val="tx1"/>
          </a:fontRef>
        </p:style>
      </p:cxnSp>
      <p:cxnSp>
        <p:nvCxnSpPr>
          <p:cNvPr id="20" name="Gerade Verbindung 13">
            <a:extLst>
              <a:ext uri="{FF2B5EF4-FFF2-40B4-BE49-F238E27FC236}">
                <a16:creationId xmlns:a16="http://schemas.microsoft.com/office/drawing/2014/main" id="{1ED48383-9E08-C202-05E0-9240EC448B39}"/>
              </a:ext>
            </a:extLst>
          </p:cNvPr>
          <p:cNvCxnSpPr>
            <a:cxnSpLocks/>
            <a:stCxn id="8" idx="6"/>
            <a:endCxn id="9" idx="1"/>
          </p:cNvCxnSpPr>
          <p:nvPr/>
        </p:nvCxnSpPr>
        <p:spPr>
          <a:xfrm>
            <a:off x="2880000" y="3798000"/>
            <a:ext cx="1345137" cy="3882"/>
          </a:xfrm>
          <a:prstGeom prst="line">
            <a:avLst/>
          </a:prstGeom>
          <a:ln w="19050" cap="rnd">
            <a:noFill/>
            <a:round/>
          </a:ln>
        </p:spPr>
        <p:style>
          <a:lnRef idx="1">
            <a:schemeClr val="accent1"/>
          </a:lnRef>
          <a:fillRef idx="0">
            <a:schemeClr val="accent1"/>
          </a:fillRef>
          <a:effectRef idx="0">
            <a:schemeClr val="accent1"/>
          </a:effectRef>
          <a:fontRef idx="minor">
            <a:schemeClr val="tx1"/>
          </a:fontRef>
        </p:style>
      </p:cxn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04138522-C695-4395-F275-BCB54A94B66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9480136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  037 : full page picture : citiation">
    <p:spTree>
      <p:nvGrpSpPr>
        <p:cNvPr id="1" name=""/>
        <p:cNvGrpSpPr/>
        <p:nvPr/>
      </p:nvGrpSpPr>
      <p:grpSpPr>
        <a:xfrm>
          <a:off x="0" y="0"/>
          <a:ext cx="0" cy="0"/>
          <a:chOff x="0" y="0"/>
          <a:chExt cx="0" cy="0"/>
        </a:xfrm>
      </p:grpSpPr>
      <p:sp>
        <p:nvSpPr>
          <p:cNvPr id="3" name="picture">
            <a:extLst>
              <a:ext uri="{FF2B5EF4-FFF2-40B4-BE49-F238E27FC236}">
                <a16:creationId xmlns:a16="http://schemas.microsoft.com/office/drawing/2014/main" id="{940ECA07-E3D7-CFCA-C677-0BD690AD1BDA}"/>
              </a:ext>
            </a:extLst>
          </p:cNvPr>
          <p:cNvSpPr>
            <a:spLocks noGrp="1"/>
          </p:cNvSpPr>
          <p:nvPr>
            <p:ph type="pic" sz="quarter" idx="16"/>
          </p:nvPr>
        </p:nvSpPr>
        <p:spPr>
          <a:xfrm>
            <a:off x="0" y="0"/>
            <a:ext cx="12204000" cy="6858000"/>
          </a:xfrm>
        </p:spPr>
        <p:txBody>
          <a:bodyPr/>
          <a:lstStyle/>
          <a:p>
            <a:r>
              <a:rPr lang="de-DE"/>
              <a:t>Bild durch Klicken auf Symbol hinzufügen</a:t>
            </a:r>
            <a:endParaRPr lang="en-US" dirty="0"/>
          </a:p>
        </p:txBody>
      </p:sp>
      <p:sp>
        <p:nvSpPr>
          <p:cNvPr id="10" name="slide number">
            <a:extLst>
              <a:ext uri="{FF2B5EF4-FFF2-40B4-BE49-F238E27FC236}">
                <a16:creationId xmlns:a16="http://schemas.microsoft.com/office/drawing/2014/main" id="{B7DF5438-CE54-DB76-7519-6B492C35319C}"/>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BF49D278-F4EF-105E-D394-837DBAD3E5EA}"/>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02E6CEDB-A8CD-4A71-1981-445288A0659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 name="logo placeholder">
            <a:extLst>
              <a:ext uri="{FF2B5EF4-FFF2-40B4-BE49-F238E27FC236}">
                <a16:creationId xmlns:a16="http://schemas.microsoft.com/office/drawing/2014/main" id="{F34A17B4-9EFA-E101-8CCF-87C317028338}"/>
              </a:ext>
            </a:extLst>
          </p:cNvPr>
          <p:cNvSpPr>
            <a:spLocks noGrp="1"/>
          </p:cNvSpPr>
          <p:nvPr>
            <p:ph type="pic" sz="quarter" idx="24"/>
          </p:nvPr>
        </p:nvSpPr>
        <p:spPr>
          <a:xfrm>
            <a:off x="415887" y="6218848"/>
            <a:ext cx="1169231" cy="450666"/>
          </a:xfrm>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Bild durch Klicken auf Symbol hinzufügen</a:t>
            </a:r>
            <a:endParaRPr lang="en-US" dirty="0"/>
          </a:p>
        </p:txBody>
      </p:sp>
      <p:sp>
        <p:nvSpPr>
          <p:cNvPr id="15" name="text box">
            <a:extLst>
              <a:ext uri="{FF2B5EF4-FFF2-40B4-BE49-F238E27FC236}">
                <a16:creationId xmlns:a16="http://schemas.microsoft.com/office/drawing/2014/main" id="{3C8F43FB-572A-C67D-FEEB-4E1A842D7AF3}"/>
              </a:ext>
            </a:extLst>
          </p:cNvPr>
          <p:cNvSpPr>
            <a:spLocks noGrp="1"/>
          </p:cNvSpPr>
          <p:nvPr>
            <p:ph type="body" idx="1"/>
          </p:nvPr>
        </p:nvSpPr>
        <p:spPr>
          <a:xfrm>
            <a:off x="550862" y="620712"/>
            <a:ext cx="4212028" cy="5545837"/>
          </a:xfrm>
          <a:prstGeom prst="roundRect">
            <a:avLst>
              <a:gd name="adj" fmla="val 1968"/>
            </a:avLst>
          </a:prstGeom>
          <a:gradFill>
            <a:gsLst>
              <a:gs pos="0">
                <a:srgbClr val="FF4B4B"/>
              </a:gs>
              <a:gs pos="100000">
                <a:srgbClr val="FF744F"/>
              </a:gs>
            </a:gsLst>
            <a:lin ang="18900000" scaled="0"/>
          </a:gradFill>
          <a:effectLst>
            <a:outerShdw blurRad="63500" algn="ctr" rotWithShape="0">
              <a:schemeClr val="accent4">
                <a:alpha val="50000"/>
              </a:schemeClr>
            </a:outerShdw>
          </a:effectLst>
        </p:spPr>
        <p:txBody>
          <a:bodyPr lIns="540000" tIns="432000" rIns="540000" anchor="t" anchorCtr="0"/>
          <a:lstStyle>
            <a:lvl1pPr marL="0" indent="0" algn="ctr">
              <a:lnSpc>
                <a:spcPct val="100000"/>
              </a:lnSpc>
              <a:spcBef>
                <a:spcPts val="0"/>
              </a:spcBef>
              <a:spcAft>
                <a:spcPts val="0"/>
              </a:spcAft>
              <a:buNone/>
              <a:defRPr sz="32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lgn="ctr"/>
            <a:r>
              <a:rPr lang="de-DE" sz="3200" b="1">
                <a:solidFill>
                  <a:schemeClr val="bg2"/>
                </a:solidFill>
                <a:latin typeface="Segoe UI Semibold" panose="020B0502040204020203" pitchFamily="34" charset="0"/>
                <a:cs typeface="Segoe UI Semibold" panose="020B0502040204020203" pitchFamily="34" charset="0"/>
              </a:rPr>
              <a:t>Mastertextformat bearbeiten</a:t>
            </a:r>
          </a:p>
        </p:txBody>
      </p:sp>
      <p:sp>
        <p:nvSpPr>
          <p:cNvPr id="26" name="quote sign">
            <a:extLst>
              <a:ext uri="{FF2B5EF4-FFF2-40B4-BE49-F238E27FC236}">
                <a16:creationId xmlns:a16="http://schemas.microsoft.com/office/drawing/2014/main" id="{C5A90AA4-840E-FD16-AF55-175C0E43A9A5}"/>
              </a:ext>
            </a:extLst>
          </p:cNvPr>
          <p:cNvSpPr/>
          <p:nvPr/>
        </p:nvSpPr>
        <p:spPr>
          <a:xfrm>
            <a:off x="903658" y="861601"/>
            <a:ext cx="681460" cy="576624"/>
          </a:xfrm>
          <a:custGeom>
            <a:avLst/>
            <a:gdLst/>
            <a:ahLst/>
            <a:cxnLst>
              <a:cxn ang="0">
                <a:pos x="wd2" y="hd2"/>
              </a:cxn>
              <a:cxn ang="5400000">
                <a:pos x="wd2" y="hd2"/>
              </a:cxn>
              <a:cxn ang="10800000">
                <a:pos x="wd2" y="hd2"/>
              </a:cxn>
              <a:cxn ang="16200000">
                <a:pos x="wd2" y="hd2"/>
              </a:cxn>
            </a:cxnLst>
            <a:rect l="0" t="0" r="r" b="b"/>
            <a:pathLst>
              <a:path w="21600" h="21600" extrusionOk="0">
                <a:moveTo>
                  <a:pt x="9906" y="12830"/>
                </a:moveTo>
                <a:cubicBezTo>
                  <a:pt x="9906" y="18677"/>
                  <a:pt x="9906" y="18677"/>
                  <a:pt x="9906" y="18677"/>
                </a:cubicBezTo>
                <a:cubicBezTo>
                  <a:pt x="9906" y="19489"/>
                  <a:pt x="9631" y="20301"/>
                  <a:pt x="9218" y="20788"/>
                </a:cubicBezTo>
                <a:cubicBezTo>
                  <a:pt x="8668" y="21438"/>
                  <a:pt x="8117" y="21600"/>
                  <a:pt x="7429" y="21600"/>
                </a:cubicBezTo>
                <a:cubicBezTo>
                  <a:pt x="2476" y="21600"/>
                  <a:pt x="2476" y="21600"/>
                  <a:pt x="2476" y="21600"/>
                </a:cubicBezTo>
                <a:cubicBezTo>
                  <a:pt x="1789" y="21600"/>
                  <a:pt x="1101" y="21438"/>
                  <a:pt x="688" y="20788"/>
                </a:cubicBezTo>
                <a:cubicBezTo>
                  <a:pt x="138" y="20301"/>
                  <a:pt x="0" y="19489"/>
                  <a:pt x="0" y="18677"/>
                </a:cubicBezTo>
                <a:cubicBezTo>
                  <a:pt x="0" y="7958"/>
                  <a:pt x="0" y="7958"/>
                  <a:pt x="0" y="7958"/>
                </a:cubicBezTo>
                <a:cubicBezTo>
                  <a:pt x="0" y="6821"/>
                  <a:pt x="138" y="5847"/>
                  <a:pt x="413" y="4872"/>
                </a:cubicBezTo>
                <a:cubicBezTo>
                  <a:pt x="825" y="3898"/>
                  <a:pt x="1238" y="3086"/>
                  <a:pt x="1926" y="2274"/>
                </a:cubicBezTo>
                <a:cubicBezTo>
                  <a:pt x="2476" y="1624"/>
                  <a:pt x="3164" y="1137"/>
                  <a:pt x="3990" y="650"/>
                </a:cubicBezTo>
                <a:cubicBezTo>
                  <a:pt x="4815" y="325"/>
                  <a:pt x="5641" y="0"/>
                  <a:pt x="6604" y="0"/>
                </a:cubicBezTo>
                <a:cubicBezTo>
                  <a:pt x="7429" y="0"/>
                  <a:pt x="7429" y="0"/>
                  <a:pt x="7429" y="0"/>
                </a:cubicBezTo>
                <a:cubicBezTo>
                  <a:pt x="7704" y="0"/>
                  <a:pt x="7842" y="162"/>
                  <a:pt x="7980" y="325"/>
                </a:cubicBezTo>
                <a:cubicBezTo>
                  <a:pt x="8255" y="487"/>
                  <a:pt x="8255" y="812"/>
                  <a:pt x="8255" y="974"/>
                </a:cubicBezTo>
                <a:cubicBezTo>
                  <a:pt x="8255" y="2923"/>
                  <a:pt x="8255" y="2923"/>
                  <a:pt x="8255" y="2923"/>
                </a:cubicBezTo>
                <a:cubicBezTo>
                  <a:pt x="8255" y="3248"/>
                  <a:pt x="8255" y="3573"/>
                  <a:pt x="7980" y="3735"/>
                </a:cubicBezTo>
                <a:cubicBezTo>
                  <a:pt x="7842" y="3898"/>
                  <a:pt x="7704" y="4060"/>
                  <a:pt x="7429" y="4060"/>
                </a:cubicBezTo>
                <a:cubicBezTo>
                  <a:pt x="6604" y="4060"/>
                  <a:pt x="6604" y="4060"/>
                  <a:pt x="6604" y="4060"/>
                </a:cubicBezTo>
                <a:cubicBezTo>
                  <a:pt x="5641" y="4060"/>
                  <a:pt x="4953" y="4385"/>
                  <a:pt x="4265" y="5197"/>
                </a:cubicBezTo>
                <a:cubicBezTo>
                  <a:pt x="3577" y="5847"/>
                  <a:pt x="3302" y="6821"/>
                  <a:pt x="3302" y="7958"/>
                </a:cubicBezTo>
                <a:cubicBezTo>
                  <a:pt x="3302" y="8445"/>
                  <a:pt x="3302" y="8445"/>
                  <a:pt x="3302" y="8445"/>
                </a:cubicBezTo>
                <a:cubicBezTo>
                  <a:pt x="3302" y="8770"/>
                  <a:pt x="3439" y="9095"/>
                  <a:pt x="3577" y="9420"/>
                </a:cubicBezTo>
                <a:cubicBezTo>
                  <a:pt x="3852" y="9744"/>
                  <a:pt x="4127" y="9907"/>
                  <a:pt x="4540" y="9907"/>
                </a:cubicBezTo>
                <a:cubicBezTo>
                  <a:pt x="7429" y="9907"/>
                  <a:pt x="7429" y="9907"/>
                  <a:pt x="7429" y="9907"/>
                </a:cubicBezTo>
                <a:cubicBezTo>
                  <a:pt x="8117" y="9907"/>
                  <a:pt x="8668" y="10232"/>
                  <a:pt x="9218" y="10719"/>
                </a:cubicBezTo>
                <a:cubicBezTo>
                  <a:pt x="9631" y="11368"/>
                  <a:pt x="9906" y="12018"/>
                  <a:pt x="9906" y="12830"/>
                </a:cubicBezTo>
                <a:close/>
                <a:moveTo>
                  <a:pt x="21600" y="12830"/>
                </a:moveTo>
                <a:cubicBezTo>
                  <a:pt x="21600" y="18677"/>
                  <a:pt x="21600" y="18677"/>
                  <a:pt x="21600" y="18677"/>
                </a:cubicBezTo>
                <a:cubicBezTo>
                  <a:pt x="21600" y="19489"/>
                  <a:pt x="21325" y="20301"/>
                  <a:pt x="20912" y="20788"/>
                </a:cubicBezTo>
                <a:cubicBezTo>
                  <a:pt x="20362" y="21438"/>
                  <a:pt x="19811" y="21600"/>
                  <a:pt x="19124" y="21600"/>
                </a:cubicBezTo>
                <a:cubicBezTo>
                  <a:pt x="14033" y="21600"/>
                  <a:pt x="14033" y="21600"/>
                  <a:pt x="14033" y="21600"/>
                </a:cubicBezTo>
                <a:cubicBezTo>
                  <a:pt x="13345" y="21600"/>
                  <a:pt x="12795" y="21438"/>
                  <a:pt x="12382" y="20788"/>
                </a:cubicBezTo>
                <a:cubicBezTo>
                  <a:pt x="11832" y="20301"/>
                  <a:pt x="11557" y="19489"/>
                  <a:pt x="11557" y="18677"/>
                </a:cubicBezTo>
                <a:cubicBezTo>
                  <a:pt x="11557" y="7958"/>
                  <a:pt x="11557" y="7958"/>
                  <a:pt x="11557" y="7958"/>
                </a:cubicBezTo>
                <a:cubicBezTo>
                  <a:pt x="11557" y="6821"/>
                  <a:pt x="11832" y="5847"/>
                  <a:pt x="12107" y="4872"/>
                </a:cubicBezTo>
                <a:cubicBezTo>
                  <a:pt x="12520" y="3898"/>
                  <a:pt x="12932" y="3086"/>
                  <a:pt x="13620" y="2274"/>
                </a:cubicBezTo>
                <a:cubicBezTo>
                  <a:pt x="14171" y="1624"/>
                  <a:pt x="14859" y="1137"/>
                  <a:pt x="15684" y="650"/>
                </a:cubicBezTo>
                <a:cubicBezTo>
                  <a:pt x="16510" y="325"/>
                  <a:pt x="17335" y="0"/>
                  <a:pt x="18298" y="0"/>
                </a:cubicBezTo>
                <a:cubicBezTo>
                  <a:pt x="19124" y="0"/>
                  <a:pt x="19124" y="0"/>
                  <a:pt x="19124" y="0"/>
                </a:cubicBezTo>
                <a:cubicBezTo>
                  <a:pt x="19261" y="0"/>
                  <a:pt x="19536" y="162"/>
                  <a:pt x="19674" y="325"/>
                </a:cubicBezTo>
                <a:cubicBezTo>
                  <a:pt x="19811" y="487"/>
                  <a:pt x="19949" y="812"/>
                  <a:pt x="19949" y="974"/>
                </a:cubicBezTo>
                <a:cubicBezTo>
                  <a:pt x="19949" y="2923"/>
                  <a:pt x="19949" y="2923"/>
                  <a:pt x="19949" y="2923"/>
                </a:cubicBezTo>
                <a:cubicBezTo>
                  <a:pt x="19949" y="3248"/>
                  <a:pt x="19811" y="3573"/>
                  <a:pt x="19674" y="3735"/>
                </a:cubicBezTo>
                <a:cubicBezTo>
                  <a:pt x="19536" y="3898"/>
                  <a:pt x="19261" y="4060"/>
                  <a:pt x="19124" y="4060"/>
                </a:cubicBezTo>
                <a:cubicBezTo>
                  <a:pt x="18298" y="4060"/>
                  <a:pt x="18298" y="4060"/>
                  <a:pt x="18298" y="4060"/>
                </a:cubicBezTo>
                <a:cubicBezTo>
                  <a:pt x="17335" y="4060"/>
                  <a:pt x="16510" y="4385"/>
                  <a:pt x="15959" y="5197"/>
                </a:cubicBezTo>
                <a:cubicBezTo>
                  <a:pt x="15271" y="5847"/>
                  <a:pt x="14996" y="6821"/>
                  <a:pt x="14996" y="7958"/>
                </a:cubicBezTo>
                <a:cubicBezTo>
                  <a:pt x="14996" y="8445"/>
                  <a:pt x="14996" y="8445"/>
                  <a:pt x="14996" y="8445"/>
                </a:cubicBezTo>
                <a:cubicBezTo>
                  <a:pt x="14996" y="8770"/>
                  <a:pt x="14996" y="9095"/>
                  <a:pt x="15271" y="9420"/>
                </a:cubicBezTo>
                <a:cubicBezTo>
                  <a:pt x="15546" y="9744"/>
                  <a:pt x="15822" y="9907"/>
                  <a:pt x="16234" y="9907"/>
                </a:cubicBezTo>
                <a:cubicBezTo>
                  <a:pt x="19124" y="9907"/>
                  <a:pt x="19124" y="9907"/>
                  <a:pt x="19124" y="9907"/>
                </a:cubicBezTo>
                <a:cubicBezTo>
                  <a:pt x="19811" y="9907"/>
                  <a:pt x="20362" y="10232"/>
                  <a:pt x="20912" y="10719"/>
                </a:cubicBezTo>
                <a:cubicBezTo>
                  <a:pt x="21325" y="11368"/>
                  <a:pt x="21600" y="12018"/>
                  <a:pt x="21600" y="12830"/>
                </a:cubicBezTo>
                <a:close/>
              </a:path>
            </a:pathLst>
          </a:custGeom>
          <a:solidFill>
            <a:schemeClr val="bg1">
              <a:alpha val="20000"/>
            </a:schemeClr>
          </a:solidFill>
          <a:ln>
            <a:noFill/>
          </a:ln>
        </p:spPr>
        <p:txBody>
          <a:bodyPr vert="horz" wrap="square" lIns="91428" tIns="45714" rIns="91428" bIns="45714" numCol="1" anchor="t" anchorCtr="0" compatLnSpc="1">
            <a:prstTxWarp prst="textNoShape">
              <a:avLst/>
            </a:prstTxWarp>
            <a:noAutofit/>
          </a:bodyPr>
          <a:lstStyle/>
          <a:p>
            <a:pPr algn="r"/>
            <a:endParaRPr sz="1224">
              <a:solidFill>
                <a:schemeClr val="tx1">
                  <a:lumMod val="65000"/>
                  <a:lumOff val="35000"/>
                </a:schemeClr>
              </a:solidFill>
            </a:endParaRPr>
          </a:p>
        </p:txBody>
      </p:sp>
      <p:sp>
        <p:nvSpPr>
          <p:cNvPr id="11" name="text below">
            <a:extLst>
              <a:ext uri="{FF2B5EF4-FFF2-40B4-BE49-F238E27FC236}">
                <a16:creationId xmlns:a16="http://schemas.microsoft.com/office/drawing/2014/main" id="{A2CE80B2-8B9A-D0FB-C427-6D3137DAECA4}"/>
              </a:ext>
            </a:extLst>
          </p:cNvPr>
          <p:cNvSpPr>
            <a:spLocks noGrp="1"/>
          </p:cNvSpPr>
          <p:nvPr>
            <p:ph type="body" sz="quarter" idx="17"/>
          </p:nvPr>
        </p:nvSpPr>
        <p:spPr>
          <a:xfrm>
            <a:off x="1216876" y="3259551"/>
            <a:ext cx="2880000" cy="2376000"/>
          </a:xfrm>
          <a:prstGeom prst="rect">
            <a:avLst/>
          </a:prstGeom>
          <a:noFill/>
          <a:effectLst>
            <a:outerShdw blurRad="63500" algn="ctr" rotWithShape="0">
              <a:schemeClr val="accent4">
                <a:alpha val="50000"/>
              </a:schemeClr>
            </a:outerShdw>
          </a:effectLst>
        </p:spPr>
        <p:txBody>
          <a:bodyPr vert="horz" lIns="0" tIns="0" rIns="0" bIns="0" rtlCol="0" anchor="t">
            <a:noAutofit/>
          </a:bodyPr>
          <a:lstStyle>
            <a:lvl1pPr>
              <a:defRPr lang="en-US" sz="1200" i="0" dirty="0">
                <a:solidFill>
                  <a:schemeClr val="bg1"/>
                </a:solidFill>
                <a:latin typeface="Segoe UI Semilight" panose="020B0402040204020203" pitchFamily="34" charset="0"/>
                <a:cs typeface="Segoe UI Semilight" panose="020B0402040204020203" pitchFamily="34" charset="0"/>
              </a:defRPr>
            </a:lvl1pPr>
            <a:lvl2pPr>
              <a:buClr>
                <a:schemeClr val="bg1"/>
              </a:buClr>
              <a:defRPr lang="en-US" sz="1200" dirty="0">
                <a:solidFill>
                  <a:schemeClr val="bg1"/>
                </a:solidFill>
              </a:defRPr>
            </a:lvl2pPr>
            <a:lvl3pPr>
              <a:buClr>
                <a:schemeClr val="bg1"/>
              </a:buClr>
              <a:defRPr lang="en-US" sz="1200" dirty="0">
                <a:solidFill>
                  <a:schemeClr val="bg1"/>
                </a:solidFill>
              </a:defRPr>
            </a:lvl3pPr>
            <a:lvl4pPr>
              <a:defRPr lang="en-US" sz="1200" dirty="0">
                <a:solidFill>
                  <a:schemeClr val="bg1"/>
                </a:solidFill>
              </a:defRPr>
            </a:lvl4pPr>
            <a:lvl5pPr>
              <a:defRPr lang="en-US" sz="1600" dirty="0">
                <a:solidFill>
                  <a:schemeClr val="bg1"/>
                </a:solidFill>
              </a:defRPr>
            </a:lvl5pPr>
          </a:lstStyle>
          <a:p>
            <a:pPr lvl="0">
              <a:lnSpc>
                <a:spcPct val="100000"/>
              </a:lnSpc>
            </a:pPr>
            <a:r>
              <a:rPr lang="de-DE"/>
              <a:t>Mastertextformat bearbeiten</a:t>
            </a:r>
          </a:p>
        </p:txBody>
      </p:sp>
      <p:sp>
        <p:nvSpPr>
          <p:cNvPr id="37" name="citiation right">
            <a:extLst>
              <a:ext uri="{FF2B5EF4-FFF2-40B4-BE49-F238E27FC236}">
                <a16:creationId xmlns:a16="http://schemas.microsoft.com/office/drawing/2014/main" id="{04E48D07-1188-AE3A-D277-D5445D795FF0}"/>
              </a:ext>
            </a:extLst>
          </p:cNvPr>
          <p:cNvSpPr>
            <a:spLocks noGrp="1"/>
          </p:cNvSpPr>
          <p:nvPr>
            <p:ph type="body" idx="18" hasCustomPrompt="1"/>
          </p:nvPr>
        </p:nvSpPr>
        <p:spPr>
          <a:xfrm>
            <a:off x="6888602" y="1989138"/>
            <a:ext cx="4752536" cy="4176710"/>
          </a:xfrm>
        </p:spPr>
        <p:txBody>
          <a:bodyPr anchor="b"/>
          <a:lstStyle>
            <a:lvl1pPr marL="0" indent="0">
              <a:lnSpc>
                <a:spcPct val="100000"/>
              </a:lnSpc>
              <a:spcBef>
                <a:spcPts val="0"/>
              </a:spcBef>
              <a:spcAft>
                <a:spcPts val="0"/>
              </a:spcAft>
              <a:buNone/>
              <a:defRPr lang="en-US" sz="4000" b="0" kern="1200" baseline="0" noProof="0" dirty="0" smtClean="0">
                <a:solidFill>
                  <a:schemeClr val="bg1"/>
                </a:solidFill>
                <a:latin typeface="Segoe UI Semibold" panose="020B0502040204020203" pitchFamily="34" charset="0"/>
                <a:ea typeface="Calibri" panose="020F0502020204030204" pitchFamily="34" charset="0"/>
                <a:cs typeface="Segoe UI Semibold"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navigation">
            <a:extLst>
              <a:ext uri="{FF2B5EF4-FFF2-40B4-BE49-F238E27FC236}">
                <a16:creationId xmlns:a16="http://schemas.microsoft.com/office/drawing/2014/main" id="{0D8B8A8A-402D-C8A1-B168-F98BC5DD2918}"/>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926456673"/>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  037a : citiation large text : textbox">
    <p:spTree>
      <p:nvGrpSpPr>
        <p:cNvPr id="1" name=""/>
        <p:cNvGrpSpPr/>
        <p:nvPr/>
      </p:nvGrpSpPr>
      <p:grpSpPr>
        <a:xfrm>
          <a:off x="0" y="0"/>
          <a:ext cx="0" cy="0"/>
          <a:chOff x="0" y="0"/>
          <a:chExt cx="0" cy="0"/>
        </a:xfrm>
      </p:grpSpPr>
      <p:sp>
        <p:nvSpPr>
          <p:cNvPr id="3" name="picture full size">
            <a:extLst>
              <a:ext uri="{FF2B5EF4-FFF2-40B4-BE49-F238E27FC236}">
                <a16:creationId xmlns:a16="http://schemas.microsoft.com/office/drawing/2014/main" id="{23C638FC-BC3A-342E-0C98-F526F407ED1D}"/>
              </a:ext>
            </a:extLst>
          </p:cNvPr>
          <p:cNvSpPr>
            <a:spLocks noGrp="1"/>
          </p:cNvSpPr>
          <p:nvPr>
            <p:ph type="pic" sz="quarter" idx="16"/>
          </p:nvPr>
        </p:nvSpPr>
        <p:spPr>
          <a:xfrm>
            <a:off x="0" y="0"/>
            <a:ext cx="12204000" cy="6858000"/>
          </a:xfrm>
        </p:spPr>
        <p:txBody>
          <a:bodyPr/>
          <a:lstStyle/>
          <a:p>
            <a:r>
              <a:rPr lang="de-DE"/>
              <a:t>Bild durch Klicken auf Symbol hinzufügen</a:t>
            </a:r>
            <a:endParaRPr lang="en-US" dirty="0"/>
          </a:p>
        </p:txBody>
      </p:sp>
      <p:sp>
        <p:nvSpPr>
          <p:cNvPr id="16" name="slide number">
            <a:extLst>
              <a:ext uri="{FF2B5EF4-FFF2-40B4-BE49-F238E27FC236}">
                <a16:creationId xmlns:a16="http://schemas.microsoft.com/office/drawing/2014/main" id="{EDBA17E5-A876-6E6B-BBEE-4194613D42B2}"/>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7" name="footer">
            <a:extLst>
              <a:ext uri="{FF2B5EF4-FFF2-40B4-BE49-F238E27FC236}">
                <a16:creationId xmlns:a16="http://schemas.microsoft.com/office/drawing/2014/main" id="{FAA925A6-1C0D-E6FF-6BEF-B0D9DC08517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8" name="date">
            <a:extLst>
              <a:ext uri="{FF2B5EF4-FFF2-40B4-BE49-F238E27FC236}">
                <a16:creationId xmlns:a16="http://schemas.microsoft.com/office/drawing/2014/main" id="{66863C84-EB36-E341-8913-58798A12DAEF}"/>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5" name="citiation right">
            <a:extLst>
              <a:ext uri="{FF2B5EF4-FFF2-40B4-BE49-F238E27FC236}">
                <a16:creationId xmlns:a16="http://schemas.microsoft.com/office/drawing/2014/main" id="{A4866143-830C-FF0D-2A28-1EC4A994D9BD}"/>
              </a:ext>
            </a:extLst>
          </p:cNvPr>
          <p:cNvSpPr>
            <a:spLocks noGrp="1"/>
          </p:cNvSpPr>
          <p:nvPr>
            <p:ph type="body" idx="23"/>
          </p:nvPr>
        </p:nvSpPr>
        <p:spPr>
          <a:xfrm>
            <a:off x="6624455" y="1690469"/>
            <a:ext cx="4319999" cy="3979529"/>
          </a:xfrm>
          <a:prstGeom prst="roundRect">
            <a:avLst>
              <a:gd name="adj" fmla="val 1349"/>
            </a:avLst>
          </a:prstGeom>
          <a:solidFill>
            <a:schemeClr val="bg1"/>
          </a:solidFill>
          <a:effectLst>
            <a:outerShdw blurRad="63500" algn="ctr" rotWithShape="0">
              <a:schemeClr val="accent4">
                <a:alpha val="50000"/>
              </a:schemeClr>
            </a:outerShdw>
          </a:effectLst>
        </p:spPr>
        <p:txBody>
          <a:bodyPr lIns="792000" tIns="216000" rIns="792000" bIns="216000" anchor="ctr"/>
          <a:lstStyle>
            <a:lvl1pPr marL="0" indent="0" algn="ctr">
              <a:lnSpc>
                <a:spcPct val="110000"/>
              </a:lnSpc>
              <a:spcBef>
                <a:spcPts val="0"/>
              </a:spcBef>
              <a:spcAft>
                <a:spcPts val="0"/>
              </a:spcAft>
              <a:buNone/>
              <a:defRPr sz="14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0" name="quote sign">
            <a:extLst>
              <a:ext uri="{FF2B5EF4-FFF2-40B4-BE49-F238E27FC236}">
                <a16:creationId xmlns:a16="http://schemas.microsoft.com/office/drawing/2014/main" id="{D18DFA0B-61B2-AE97-4F3F-68EEA959D74B}"/>
              </a:ext>
            </a:extLst>
          </p:cNvPr>
          <p:cNvSpPr/>
          <p:nvPr/>
        </p:nvSpPr>
        <p:spPr>
          <a:xfrm>
            <a:off x="682294" y="1495240"/>
            <a:ext cx="1236994" cy="1046694"/>
          </a:xfrm>
          <a:custGeom>
            <a:avLst/>
            <a:gdLst/>
            <a:ahLst/>
            <a:cxnLst>
              <a:cxn ang="0">
                <a:pos x="wd2" y="hd2"/>
              </a:cxn>
              <a:cxn ang="5400000">
                <a:pos x="wd2" y="hd2"/>
              </a:cxn>
              <a:cxn ang="10800000">
                <a:pos x="wd2" y="hd2"/>
              </a:cxn>
              <a:cxn ang="16200000">
                <a:pos x="wd2" y="hd2"/>
              </a:cxn>
            </a:cxnLst>
            <a:rect l="0" t="0" r="r" b="b"/>
            <a:pathLst>
              <a:path w="21600" h="21600" extrusionOk="0">
                <a:moveTo>
                  <a:pt x="9906" y="12830"/>
                </a:moveTo>
                <a:cubicBezTo>
                  <a:pt x="9906" y="18677"/>
                  <a:pt x="9906" y="18677"/>
                  <a:pt x="9906" y="18677"/>
                </a:cubicBezTo>
                <a:cubicBezTo>
                  <a:pt x="9906" y="19489"/>
                  <a:pt x="9631" y="20301"/>
                  <a:pt x="9218" y="20788"/>
                </a:cubicBezTo>
                <a:cubicBezTo>
                  <a:pt x="8668" y="21438"/>
                  <a:pt x="8117" y="21600"/>
                  <a:pt x="7429" y="21600"/>
                </a:cubicBezTo>
                <a:cubicBezTo>
                  <a:pt x="2476" y="21600"/>
                  <a:pt x="2476" y="21600"/>
                  <a:pt x="2476" y="21600"/>
                </a:cubicBezTo>
                <a:cubicBezTo>
                  <a:pt x="1789" y="21600"/>
                  <a:pt x="1101" y="21438"/>
                  <a:pt x="688" y="20788"/>
                </a:cubicBezTo>
                <a:cubicBezTo>
                  <a:pt x="138" y="20301"/>
                  <a:pt x="0" y="19489"/>
                  <a:pt x="0" y="18677"/>
                </a:cubicBezTo>
                <a:cubicBezTo>
                  <a:pt x="0" y="7958"/>
                  <a:pt x="0" y="7958"/>
                  <a:pt x="0" y="7958"/>
                </a:cubicBezTo>
                <a:cubicBezTo>
                  <a:pt x="0" y="6821"/>
                  <a:pt x="138" y="5847"/>
                  <a:pt x="413" y="4872"/>
                </a:cubicBezTo>
                <a:cubicBezTo>
                  <a:pt x="825" y="3898"/>
                  <a:pt x="1238" y="3086"/>
                  <a:pt x="1926" y="2274"/>
                </a:cubicBezTo>
                <a:cubicBezTo>
                  <a:pt x="2476" y="1624"/>
                  <a:pt x="3164" y="1137"/>
                  <a:pt x="3990" y="650"/>
                </a:cubicBezTo>
                <a:cubicBezTo>
                  <a:pt x="4815" y="325"/>
                  <a:pt x="5641" y="0"/>
                  <a:pt x="6604" y="0"/>
                </a:cubicBezTo>
                <a:cubicBezTo>
                  <a:pt x="7429" y="0"/>
                  <a:pt x="7429" y="0"/>
                  <a:pt x="7429" y="0"/>
                </a:cubicBezTo>
                <a:cubicBezTo>
                  <a:pt x="7704" y="0"/>
                  <a:pt x="7842" y="162"/>
                  <a:pt x="7980" y="325"/>
                </a:cubicBezTo>
                <a:cubicBezTo>
                  <a:pt x="8255" y="487"/>
                  <a:pt x="8255" y="812"/>
                  <a:pt x="8255" y="974"/>
                </a:cubicBezTo>
                <a:cubicBezTo>
                  <a:pt x="8255" y="2923"/>
                  <a:pt x="8255" y="2923"/>
                  <a:pt x="8255" y="2923"/>
                </a:cubicBezTo>
                <a:cubicBezTo>
                  <a:pt x="8255" y="3248"/>
                  <a:pt x="8255" y="3573"/>
                  <a:pt x="7980" y="3735"/>
                </a:cubicBezTo>
                <a:cubicBezTo>
                  <a:pt x="7842" y="3898"/>
                  <a:pt x="7704" y="4060"/>
                  <a:pt x="7429" y="4060"/>
                </a:cubicBezTo>
                <a:cubicBezTo>
                  <a:pt x="6604" y="4060"/>
                  <a:pt x="6604" y="4060"/>
                  <a:pt x="6604" y="4060"/>
                </a:cubicBezTo>
                <a:cubicBezTo>
                  <a:pt x="5641" y="4060"/>
                  <a:pt x="4953" y="4385"/>
                  <a:pt x="4265" y="5197"/>
                </a:cubicBezTo>
                <a:cubicBezTo>
                  <a:pt x="3577" y="5847"/>
                  <a:pt x="3302" y="6821"/>
                  <a:pt x="3302" y="7958"/>
                </a:cubicBezTo>
                <a:cubicBezTo>
                  <a:pt x="3302" y="8445"/>
                  <a:pt x="3302" y="8445"/>
                  <a:pt x="3302" y="8445"/>
                </a:cubicBezTo>
                <a:cubicBezTo>
                  <a:pt x="3302" y="8770"/>
                  <a:pt x="3439" y="9095"/>
                  <a:pt x="3577" y="9420"/>
                </a:cubicBezTo>
                <a:cubicBezTo>
                  <a:pt x="3852" y="9744"/>
                  <a:pt x="4127" y="9907"/>
                  <a:pt x="4540" y="9907"/>
                </a:cubicBezTo>
                <a:cubicBezTo>
                  <a:pt x="7429" y="9907"/>
                  <a:pt x="7429" y="9907"/>
                  <a:pt x="7429" y="9907"/>
                </a:cubicBezTo>
                <a:cubicBezTo>
                  <a:pt x="8117" y="9907"/>
                  <a:pt x="8668" y="10232"/>
                  <a:pt x="9218" y="10719"/>
                </a:cubicBezTo>
                <a:cubicBezTo>
                  <a:pt x="9631" y="11368"/>
                  <a:pt x="9906" y="12018"/>
                  <a:pt x="9906" y="12830"/>
                </a:cubicBezTo>
                <a:close/>
                <a:moveTo>
                  <a:pt x="21600" y="12830"/>
                </a:moveTo>
                <a:cubicBezTo>
                  <a:pt x="21600" y="18677"/>
                  <a:pt x="21600" y="18677"/>
                  <a:pt x="21600" y="18677"/>
                </a:cubicBezTo>
                <a:cubicBezTo>
                  <a:pt x="21600" y="19489"/>
                  <a:pt x="21325" y="20301"/>
                  <a:pt x="20912" y="20788"/>
                </a:cubicBezTo>
                <a:cubicBezTo>
                  <a:pt x="20362" y="21438"/>
                  <a:pt x="19811" y="21600"/>
                  <a:pt x="19124" y="21600"/>
                </a:cubicBezTo>
                <a:cubicBezTo>
                  <a:pt x="14033" y="21600"/>
                  <a:pt x="14033" y="21600"/>
                  <a:pt x="14033" y="21600"/>
                </a:cubicBezTo>
                <a:cubicBezTo>
                  <a:pt x="13345" y="21600"/>
                  <a:pt x="12795" y="21438"/>
                  <a:pt x="12382" y="20788"/>
                </a:cubicBezTo>
                <a:cubicBezTo>
                  <a:pt x="11832" y="20301"/>
                  <a:pt x="11557" y="19489"/>
                  <a:pt x="11557" y="18677"/>
                </a:cubicBezTo>
                <a:cubicBezTo>
                  <a:pt x="11557" y="7958"/>
                  <a:pt x="11557" y="7958"/>
                  <a:pt x="11557" y="7958"/>
                </a:cubicBezTo>
                <a:cubicBezTo>
                  <a:pt x="11557" y="6821"/>
                  <a:pt x="11832" y="5847"/>
                  <a:pt x="12107" y="4872"/>
                </a:cubicBezTo>
                <a:cubicBezTo>
                  <a:pt x="12520" y="3898"/>
                  <a:pt x="12932" y="3086"/>
                  <a:pt x="13620" y="2274"/>
                </a:cubicBezTo>
                <a:cubicBezTo>
                  <a:pt x="14171" y="1624"/>
                  <a:pt x="14859" y="1137"/>
                  <a:pt x="15684" y="650"/>
                </a:cubicBezTo>
                <a:cubicBezTo>
                  <a:pt x="16510" y="325"/>
                  <a:pt x="17335" y="0"/>
                  <a:pt x="18298" y="0"/>
                </a:cubicBezTo>
                <a:cubicBezTo>
                  <a:pt x="19124" y="0"/>
                  <a:pt x="19124" y="0"/>
                  <a:pt x="19124" y="0"/>
                </a:cubicBezTo>
                <a:cubicBezTo>
                  <a:pt x="19261" y="0"/>
                  <a:pt x="19536" y="162"/>
                  <a:pt x="19674" y="325"/>
                </a:cubicBezTo>
                <a:cubicBezTo>
                  <a:pt x="19811" y="487"/>
                  <a:pt x="19949" y="812"/>
                  <a:pt x="19949" y="974"/>
                </a:cubicBezTo>
                <a:cubicBezTo>
                  <a:pt x="19949" y="2923"/>
                  <a:pt x="19949" y="2923"/>
                  <a:pt x="19949" y="2923"/>
                </a:cubicBezTo>
                <a:cubicBezTo>
                  <a:pt x="19949" y="3248"/>
                  <a:pt x="19811" y="3573"/>
                  <a:pt x="19674" y="3735"/>
                </a:cubicBezTo>
                <a:cubicBezTo>
                  <a:pt x="19536" y="3898"/>
                  <a:pt x="19261" y="4060"/>
                  <a:pt x="19124" y="4060"/>
                </a:cubicBezTo>
                <a:cubicBezTo>
                  <a:pt x="18298" y="4060"/>
                  <a:pt x="18298" y="4060"/>
                  <a:pt x="18298" y="4060"/>
                </a:cubicBezTo>
                <a:cubicBezTo>
                  <a:pt x="17335" y="4060"/>
                  <a:pt x="16510" y="4385"/>
                  <a:pt x="15959" y="5197"/>
                </a:cubicBezTo>
                <a:cubicBezTo>
                  <a:pt x="15271" y="5847"/>
                  <a:pt x="14996" y="6821"/>
                  <a:pt x="14996" y="7958"/>
                </a:cubicBezTo>
                <a:cubicBezTo>
                  <a:pt x="14996" y="8445"/>
                  <a:pt x="14996" y="8445"/>
                  <a:pt x="14996" y="8445"/>
                </a:cubicBezTo>
                <a:cubicBezTo>
                  <a:pt x="14996" y="8770"/>
                  <a:pt x="14996" y="9095"/>
                  <a:pt x="15271" y="9420"/>
                </a:cubicBezTo>
                <a:cubicBezTo>
                  <a:pt x="15546" y="9744"/>
                  <a:pt x="15822" y="9907"/>
                  <a:pt x="16234" y="9907"/>
                </a:cubicBezTo>
                <a:cubicBezTo>
                  <a:pt x="19124" y="9907"/>
                  <a:pt x="19124" y="9907"/>
                  <a:pt x="19124" y="9907"/>
                </a:cubicBezTo>
                <a:cubicBezTo>
                  <a:pt x="19811" y="9907"/>
                  <a:pt x="20362" y="10232"/>
                  <a:pt x="20912" y="10719"/>
                </a:cubicBezTo>
                <a:cubicBezTo>
                  <a:pt x="21325" y="11368"/>
                  <a:pt x="21600" y="12018"/>
                  <a:pt x="21600" y="12830"/>
                </a:cubicBezTo>
                <a:close/>
              </a:path>
            </a:pathLst>
          </a:custGeom>
          <a:solidFill>
            <a:schemeClr val="bg1">
              <a:lumMod val="85000"/>
              <a:alpha val="30000"/>
            </a:schemeClr>
          </a:solidFill>
          <a:ln>
            <a:noFill/>
          </a:ln>
        </p:spPr>
        <p:txBody>
          <a:bodyPr vert="horz" wrap="square" lIns="91428" tIns="45714" rIns="91428" bIns="45714" numCol="1" anchor="t" anchorCtr="0" compatLnSpc="1">
            <a:prstTxWarp prst="textNoShape">
              <a:avLst/>
            </a:prstTxWarp>
            <a:noAutofit/>
          </a:bodyPr>
          <a:lstStyle/>
          <a:p>
            <a:pPr algn="r"/>
            <a:endParaRPr sz="1224">
              <a:solidFill>
                <a:schemeClr val="tx1">
                  <a:lumMod val="65000"/>
                  <a:lumOff val="35000"/>
                </a:schemeClr>
              </a:solidFill>
            </a:endParaRPr>
          </a:p>
        </p:txBody>
      </p:sp>
      <p:sp>
        <p:nvSpPr>
          <p:cNvPr id="4" name="citiation left">
            <a:extLst>
              <a:ext uri="{FF2B5EF4-FFF2-40B4-BE49-F238E27FC236}">
                <a16:creationId xmlns:a16="http://schemas.microsoft.com/office/drawing/2014/main" id="{A3635072-3A3F-1D94-8195-E86197AF6795}"/>
              </a:ext>
            </a:extLst>
          </p:cNvPr>
          <p:cNvSpPr>
            <a:spLocks noGrp="1"/>
          </p:cNvSpPr>
          <p:nvPr>
            <p:ph type="body" idx="18"/>
          </p:nvPr>
        </p:nvSpPr>
        <p:spPr>
          <a:xfrm>
            <a:off x="539999" y="1799999"/>
            <a:ext cx="5580000" cy="3780000"/>
          </a:xfrm>
        </p:spPr>
        <p:txBody>
          <a:bodyPr anchor="t"/>
          <a:lstStyle>
            <a:lvl1pPr marL="0" indent="0">
              <a:lnSpc>
                <a:spcPct val="100000"/>
              </a:lnSpc>
              <a:spcBef>
                <a:spcPts val="0"/>
              </a:spcBef>
              <a:spcAft>
                <a:spcPts val="0"/>
              </a:spcAft>
              <a:buNone/>
              <a:defRPr lang="en-US" sz="6000" b="1" kern="1200" baseline="0" noProof="0" dirty="0" smtClean="0">
                <a:gradFill>
                  <a:gsLst>
                    <a:gs pos="0">
                      <a:srgbClr val="FF4B4B"/>
                    </a:gs>
                    <a:gs pos="100000">
                      <a:srgbClr val="FF744F"/>
                    </a:gs>
                  </a:gsLst>
                  <a:lin ang="5400000" scaled="1"/>
                </a:gradFill>
                <a:latin typeface="Segoe UI Semibold" panose="020B0502040204020203" pitchFamily="34" charset="0"/>
                <a:ea typeface="Calibri" panose="020F0502020204030204" pitchFamily="34" charset="0"/>
                <a:cs typeface="Segoe UI Semibold"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 name="title">
            <a:extLst>
              <a:ext uri="{FF2B5EF4-FFF2-40B4-BE49-F238E27FC236}">
                <a16:creationId xmlns:a16="http://schemas.microsoft.com/office/drawing/2014/main" id="{08AD8282-E041-B6A9-3DC9-7682010AF0CB}"/>
              </a:ext>
            </a:extLst>
          </p:cNvPr>
          <p:cNvSpPr>
            <a:spLocks noGrp="1"/>
          </p:cNvSpPr>
          <p:nvPr>
            <p:ph type="title"/>
          </p:nvPr>
        </p:nvSpPr>
        <p:spPr/>
        <p:txBody>
          <a:bodyPr vert="horz"/>
          <a:lstStyle/>
          <a:p>
            <a:r>
              <a:rPr lang="de-DE"/>
              <a:t>Mastertitelformat bearbeiten</a:t>
            </a:r>
            <a:endParaRPr lang="en-US" dirty="0"/>
          </a:p>
        </p:txBody>
      </p:sp>
      <p:sp>
        <p:nvSpPr>
          <p:cNvPr id="11" name="navigation">
            <a:extLst>
              <a:ext uri="{FF2B5EF4-FFF2-40B4-BE49-F238E27FC236}">
                <a16:creationId xmlns:a16="http://schemas.microsoft.com/office/drawing/2014/main" id="{11AA186C-0972-345D-F7FB-A611D12F0E1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036104929"/>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  038 : button : circle picture right : Icon : shape">
    <p:spTree>
      <p:nvGrpSpPr>
        <p:cNvPr id="1" name=""/>
        <p:cNvGrpSpPr/>
        <p:nvPr/>
      </p:nvGrpSpPr>
      <p:grpSpPr>
        <a:xfrm>
          <a:off x="0" y="0"/>
          <a:ext cx="0" cy="0"/>
          <a:chOff x="0" y="0"/>
          <a:chExt cx="0" cy="0"/>
        </a:xfrm>
      </p:grpSpPr>
      <p:sp>
        <p:nvSpPr>
          <p:cNvPr id="3" name="shape">
            <a:extLst>
              <a:ext uri="{FF2B5EF4-FFF2-40B4-BE49-F238E27FC236}">
                <a16:creationId xmlns:a16="http://schemas.microsoft.com/office/drawing/2014/main" id="{0948C084-3C49-6E92-DCE7-1A0796F0D702}"/>
              </a:ext>
            </a:extLst>
          </p:cNvPr>
          <p:cNvSpPr/>
          <p:nvPr/>
        </p:nvSpPr>
        <p:spPr>
          <a:xfrm>
            <a:off x="8023859" y="0"/>
            <a:ext cx="4168140" cy="6858000"/>
          </a:xfrm>
          <a:custGeom>
            <a:avLst/>
            <a:gdLst>
              <a:gd name="connsiteX0" fmla="*/ 2955290 w 4168140"/>
              <a:gd name="connsiteY0" fmla="*/ 6858000 h 6858000"/>
              <a:gd name="connsiteX1" fmla="*/ 1841500 w 4168140"/>
              <a:gd name="connsiteY1" fmla="*/ 3779520 h 6858000"/>
              <a:gd name="connsiteX2" fmla="*/ 1841500 w 4168140"/>
              <a:gd name="connsiteY2" fmla="*/ 3779520 h 6858000"/>
              <a:gd name="connsiteX3" fmla="*/ 990600 w 4168140"/>
              <a:gd name="connsiteY3" fmla="*/ 1487170 h 6858000"/>
              <a:gd name="connsiteX4" fmla="*/ 0 w 4168140"/>
              <a:gd name="connsiteY4" fmla="*/ 0 h 6858000"/>
              <a:gd name="connsiteX5" fmla="*/ 4168140 w 4168140"/>
              <a:gd name="connsiteY5" fmla="*/ 0 h 6858000"/>
              <a:gd name="connsiteX6" fmla="*/ 4168140 w 4168140"/>
              <a:gd name="connsiteY6" fmla="*/ 6858000 h 6858000"/>
              <a:gd name="connsiteX7" fmla="*/ 2955290 w 416814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8140" h="6858000">
                <a:moveTo>
                  <a:pt x="2955290" y="6858000"/>
                </a:moveTo>
                <a:cubicBezTo>
                  <a:pt x="2167890" y="6076950"/>
                  <a:pt x="1727200" y="4963160"/>
                  <a:pt x="1841500" y="3779520"/>
                </a:cubicBezTo>
                <a:lnTo>
                  <a:pt x="1841500" y="3779520"/>
                </a:lnTo>
                <a:cubicBezTo>
                  <a:pt x="1991360" y="2218690"/>
                  <a:pt x="1736090" y="1946910"/>
                  <a:pt x="990600" y="1487170"/>
                </a:cubicBezTo>
                <a:cubicBezTo>
                  <a:pt x="464820" y="1163320"/>
                  <a:pt x="96520" y="619760"/>
                  <a:pt x="0" y="0"/>
                </a:cubicBezTo>
                <a:lnTo>
                  <a:pt x="4168140" y="0"/>
                </a:lnTo>
                <a:lnTo>
                  <a:pt x="4168140" y="6858000"/>
                </a:lnTo>
                <a:lnTo>
                  <a:pt x="2955290"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2" name="picture">
            <a:extLst>
              <a:ext uri="{FF2B5EF4-FFF2-40B4-BE49-F238E27FC236}">
                <a16:creationId xmlns:a16="http://schemas.microsoft.com/office/drawing/2014/main" id="{E77A569B-F732-9AEF-CC11-01CD2C0334C3}"/>
              </a:ext>
            </a:extLst>
          </p:cNvPr>
          <p:cNvSpPr>
            <a:spLocks noGrp="1" noChangeAspect="1"/>
          </p:cNvSpPr>
          <p:nvPr>
            <p:ph type="pic" sz="quarter" idx="16"/>
          </p:nvPr>
        </p:nvSpPr>
        <p:spPr>
          <a:xfrm>
            <a:off x="6984000" y="1188000"/>
            <a:ext cx="5208000" cy="5670000"/>
          </a:xfrm>
          <a:custGeom>
            <a:avLst/>
            <a:gdLst>
              <a:gd name="connsiteX0" fmla="*/ 3204000 w 5208000"/>
              <a:gd name="connsiteY0" fmla="*/ 0 h 5670000"/>
              <a:gd name="connsiteX1" fmla="*/ 4995387 w 5208000"/>
              <a:gd name="connsiteY1" fmla="*/ 547193 h 5670000"/>
              <a:gd name="connsiteX2" fmla="*/ 5208000 w 5208000"/>
              <a:gd name="connsiteY2" fmla="*/ 706182 h 5670000"/>
              <a:gd name="connsiteX3" fmla="*/ 5208000 w 5208000"/>
              <a:gd name="connsiteY3" fmla="*/ 5670000 h 5670000"/>
              <a:gd name="connsiteX4" fmla="*/ 1158959 w 5208000"/>
              <a:gd name="connsiteY4" fmla="*/ 5670000 h 5670000"/>
              <a:gd name="connsiteX5" fmla="*/ 938430 w 5208000"/>
              <a:gd name="connsiteY5" fmla="*/ 5469570 h 5670000"/>
              <a:gd name="connsiteX6" fmla="*/ 0 w 5208000"/>
              <a:gd name="connsiteY6" fmla="*/ 3204000 h 5670000"/>
              <a:gd name="connsiteX7" fmla="*/ 3204000 w 5208000"/>
              <a:gd name="connsiteY7" fmla="*/ 0 h 56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8000" h="5670000">
                <a:moveTo>
                  <a:pt x="3204000" y="0"/>
                </a:moveTo>
                <a:cubicBezTo>
                  <a:pt x="3867570" y="0"/>
                  <a:pt x="4484025" y="201724"/>
                  <a:pt x="4995387" y="547193"/>
                </a:cubicBezTo>
                <a:lnTo>
                  <a:pt x="5208000" y="706182"/>
                </a:lnTo>
                <a:lnTo>
                  <a:pt x="5208000" y="5670000"/>
                </a:lnTo>
                <a:lnTo>
                  <a:pt x="1158959" y="5670000"/>
                </a:lnTo>
                <a:lnTo>
                  <a:pt x="938430" y="5469570"/>
                </a:lnTo>
                <a:cubicBezTo>
                  <a:pt x="358620" y="4889760"/>
                  <a:pt x="0" y="4088760"/>
                  <a:pt x="0" y="3204000"/>
                </a:cubicBezTo>
                <a:cubicBezTo>
                  <a:pt x="0" y="1434480"/>
                  <a:pt x="1434480" y="0"/>
                  <a:pt x="3204000" y="0"/>
                </a:cubicBezTo>
                <a:close/>
              </a:path>
            </a:pathLst>
          </a:custGeom>
          <a:noFill/>
        </p:spPr>
        <p:txBody>
          <a:bodyPr wrap="square" anchor="ctr">
            <a:noAutofit/>
          </a:bodyPr>
          <a:lstStyle>
            <a:lvl1pPr algn="ctr">
              <a:defRPr/>
            </a:lvl1pPr>
          </a:lstStyle>
          <a:p>
            <a:r>
              <a:rPr lang="de-DE"/>
              <a:t>Bild durch Klicken auf Symbol hinzufügen</a:t>
            </a:r>
            <a:endParaRPr lang="de-DE" dirty="0"/>
          </a:p>
        </p:txBody>
      </p:sp>
      <p:sp>
        <p:nvSpPr>
          <p:cNvPr id="21" name="slide number">
            <a:extLst>
              <a:ext uri="{FF2B5EF4-FFF2-40B4-BE49-F238E27FC236}">
                <a16:creationId xmlns:a16="http://schemas.microsoft.com/office/drawing/2014/main" id="{6712D566-0995-64A7-66F3-7FB1B2204F7E}"/>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22" name="footer">
            <a:extLst>
              <a:ext uri="{FF2B5EF4-FFF2-40B4-BE49-F238E27FC236}">
                <a16:creationId xmlns:a16="http://schemas.microsoft.com/office/drawing/2014/main" id="{49076240-8AB9-3F65-C821-1D75377EA63C}"/>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23" name="date">
            <a:extLst>
              <a:ext uri="{FF2B5EF4-FFF2-40B4-BE49-F238E27FC236}">
                <a16:creationId xmlns:a16="http://schemas.microsoft.com/office/drawing/2014/main" id="{4B85E798-6E3A-844A-0896-FCF20C199179}"/>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1" name="circle">
            <a:extLst>
              <a:ext uri="{FF2B5EF4-FFF2-40B4-BE49-F238E27FC236}">
                <a16:creationId xmlns:a16="http://schemas.microsoft.com/office/drawing/2014/main" id="{BC785D15-73D4-9F44-D7D8-DE973EA0353F}"/>
              </a:ext>
            </a:extLst>
          </p:cNvPr>
          <p:cNvSpPr>
            <a:spLocks noGrp="1"/>
          </p:cNvSpPr>
          <p:nvPr>
            <p:ph type="body" idx="43" hasCustomPrompt="1"/>
          </p:nvPr>
        </p:nvSpPr>
        <p:spPr>
          <a:xfrm>
            <a:off x="6164997" y="2633900"/>
            <a:ext cx="1620000" cy="162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12" name="Icon">
            <a:extLst>
              <a:ext uri="{FF2B5EF4-FFF2-40B4-BE49-F238E27FC236}">
                <a16:creationId xmlns:a16="http://schemas.microsoft.com/office/drawing/2014/main" id="{08475AEA-7ACB-8822-C278-96007F06C2A9}"/>
              </a:ext>
            </a:extLst>
          </p:cNvPr>
          <p:cNvSpPr>
            <a:spLocks noGrp="1"/>
          </p:cNvSpPr>
          <p:nvPr>
            <p:ph sz="quarter" idx="23"/>
          </p:nvPr>
        </p:nvSpPr>
        <p:spPr>
          <a:xfrm>
            <a:off x="6524997" y="2993900"/>
            <a:ext cx="900000" cy="90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8" name="link">
            <a:extLst>
              <a:ext uri="{FF2B5EF4-FFF2-40B4-BE49-F238E27FC236}">
                <a16:creationId xmlns:a16="http://schemas.microsoft.com/office/drawing/2014/main" id="{78CFD0F5-D130-0748-C27D-439E1A984A13}"/>
              </a:ext>
            </a:extLst>
          </p:cNvPr>
          <p:cNvSpPr>
            <a:spLocks noGrp="1"/>
          </p:cNvSpPr>
          <p:nvPr>
            <p:ph sz="quarter" idx="25"/>
          </p:nvPr>
        </p:nvSpPr>
        <p:spPr>
          <a:xfrm>
            <a:off x="550863" y="3933473"/>
            <a:ext cx="1800000" cy="360000"/>
          </a:xfrm>
          <a:prstGeom prst="roundRect">
            <a:avLst>
              <a:gd name="adj" fmla="val 50000"/>
            </a:avLst>
          </a:prstGeom>
          <a:gradFill>
            <a:gsLst>
              <a:gs pos="0">
                <a:srgbClr val="FF4B4B"/>
              </a:gs>
              <a:gs pos="100000">
                <a:srgbClr val="FF744F"/>
              </a:gs>
            </a:gsLst>
            <a:lin ang="18900000" scaled="0"/>
          </a:gradFill>
        </p:spPr>
        <p:txBody>
          <a:bodyPr vert="horz" lIns="108000" tIns="0" rIns="108000" bIns="36000" rtlCol="0" anchor="ctr">
            <a:noAutofit/>
          </a:bodyPr>
          <a:lstStyle>
            <a:lvl1pPr>
              <a:defRPr lang="en-DE" sz="1200" cap="all" spc="40" dirty="0">
                <a:solidFill>
                  <a:schemeClr val="bg1"/>
                </a:solidFill>
                <a:latin typeface="Segoe UI Semibold" panose="020B0702040204020203" pitchFamily="34" charset="0"/>
                <a:cs typeface="Segoe UI Semibold" panose="020B0702040204020203" pitchFamily="34" charset="0"/>
              </a:defRPr>
            </a:lvl1pPr>
          </a:lstStyle>
          <a:p>
            <a:pPr lvl="0" algn="ctr"/>
            <a:r>
              <a:rPr lang="de-DE"/>
              <a:t>Mastertextformat bearbeiten</a:t>
            </a:r>
          </a:p>
        </p:txBody>
      </p:sp>
      <p:sp>
        <p:nvSpPr>
          <p:cNvPr id="49" name="subhead">
            <a:extLst>
              <a:ext uri="{FF2B5EF4-FFF2-40B4-BE49-F238E27FC236}">
                <a16:creationId xmlns:a16="http://schemas.microsoft.com/office/drawing/2014/main" id="{0FE4903D-F047-A069-A010-0199438C5A44}"/>
              </a:ext>
            </a:extLst>
          </p:cNvPr>
          <p:cNvSpPr>
            <a:spLocks noGrp="1"/>
          </p:cNvSpPr>
          <p:nvPr>
            <p:ph type="body" idx="1"/>
          </p:nvPr>
        </p:nvSpPr>
        <p:spPr>
          <a:xfrm>
            <a:off x="550863" y="2649538"/>
            <a:ext cx="5400000" cy="1080000"/>
          </a:xfrm>
          <a:noFill/>
        </p:spPr>
        <p:txBody>
          <a:bodyPr vert="horz" lIns="0" tIns="0" rIns="0" bIns="0" rtlCol="0">
            <a:noAutofit/>
          </a:bodyPr>
          <a:lstStyle>
            <a:lvl1pPr algn="l">
              <a:lnSpc>
                <a:spcPct val="100000"/>
              </a:lnSpc>
              <a:defRPr lang="en-US" sz="1400" i="0" dirty="0" smtClean="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41" name="title">
            <a:extLst>
              <a:ext uri="{FF2B5EF4-FFF2-40B4-BE49-F238E27FC236}">
                <a16:creationId xmlns:a16="http://schemas.microsoft.com/office/drawing/2014/main" id="{F5BB7C3B-9C68-9E36-993B-AE7ED29AEF43}"/>
              </a:ext>
            </a:extLst>
          </p:cNvPr>
          <p:cNvSpPr>
            <a:spLocks noGrp="1"/>
          </p:cNvSpPr>
          <p:nvPr>
            <p:ph type="title"/>
          </p:nvPr>
        </p:nvSpPr>
        <p:spPr>
          <a:xfrm>
            <a:off x="540000" y="620713"/>
            <a:ext cx="5400000" cy="1728787"/>
          </a:xfrm>
        </p:spPr>
        <p:txBody>
          <a:bodyPr vert="horz" anchor="b"/>
          <a:lstStyle>
            <a:lvl1pPr algn="l">
              <a:defRPr/>
            </a:lvl1pPr>
          </a:lstStyle>
          <a:p>
            <a:r>
              <a:rPr lang="de-DE"/>
              <a:t>Mastertitelformat bearbeiten</a:t>
            </a:r>
            <a:endParaRPr lang="en-US" dirty="0"/>
          </a:p>
        </p:txBody>
      </p:sp>
    </p:spTree>
    <p:extLst>
      <p:ext uri="{BB962C8B-B14F-4D97-AF65-F5344CB8AC3E}">
        <p14:creationId xmlns:p14="http://schemas.microsoft.com/office/powerpoint/2010/main" val="3012310347"/>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  039 : 60pt black letters">
    <p:spTree>
      <p:nvGrpSpPr>
        <p:cNvPr id="1" name=""/>
        <p:cNvGrpSpPr/>
        <p:nvPr/>
      </p:nvGrpSpPr>
      <p:grpSpPr>
        <a:xfrm>
          <a:off x="0" y="0"/>
          <a:ext cx="0" cy="0"/>
          <a:chOff x="0" y="0"/>
          <a:chExt cx="0" cy="0"/>
        </a:xfrm>
      </p:grpSpPr>
      <p:sp>
        <p:nvSpPr>
          <p:cNvPr id="11" name="shape">
            <a:extLst>
              <a:ext uri="{FF2B5EF4-FFF2-40B4-BE49-F238E27FC236}">
                <a16:creationId xmlns:a16="http://schemas.microsoft.com/office/drawing/2014/main" id="{3A8A5451-BC54-CF66-45C7-1AAB95FB65A1}"/>
              </a:ext>
            </a:extLst>
          </p:cNvPr>
          <p:cNvSpPr/>
          <p:nvPr/>
        </p:nvSpPr>
        <p:spPr>
          <a:xfrm>
            <a:off x="6979913" y="0"/>
            <a:ext cx="5212086" cy="6858000"/>
          </a:xfrm>
          <a:custGeom>
            <a:avLst/>
            <a:gdLst>
              <a:gd name="connsiteX0" fmla="*/ 3272796 w 5212086"/>
              <a:gd name="connsiteY0" fmla="*/ 6858000 h 6858000"/>
              <a:gd name="connsiteX1" fmla="*/ 3187706 w 5212086"/>
              <a:gd name="connsiteY1" fmla="*/ 6630670 h 6858000"/>
              <a:gd name="connsiteX2" fmla="*/ 1892306 w 5212086"/>
              <a:gd name="connsiteY2" fmla="*/ 5591810 h 6858000"/>
              <a:gd name="connsiteX3" fmla="*/ 1892306 w 5212086"/>
              <a:gd name="connsiteY3" fmla="*/ 5591810 h 6858000"/>
              <a:gd name="connsiteX4" fmla="*/ 6 w 5212086"/>
              <a:gd name="connsiteY4" fmla="*/ 3322320 h 6858000"/>
              <a:gd name="connsiteX5" fmla="*/ 839476 w 5212086"/>
              <a:gd name="connsiteY5" fmla="*/ 1554480 h 6858000"/>
              <a:gd name="connsiteX6" fmla="*/ 839476 w 5212086"/>
              <a:gd name="connsiteY6" fmla="*/ 1554480 h 6858000"/>
              <a:gd name="connsiteX7" fmla="*/ 840746 w 5212086"/>
              <a:gd name="connsiteY7" fmla="*/ 1553210 h 6858000"/>
              <a:gd name="connsiteX8" fmla="*/ 843286 w 5212086"/>
              <a:gd name="connsiteY8" fmla="*/ 1550670 h 6858000"/>
              <a:gd name="connsiteX9" fmla="*/ 1903736 w 5212086"/>
              <a:gd name="connsiteY9" fmla="*/ 0 h 6858000"/>
              <a:gd name="connsiteX10" fmla="*/ 5212086 w 5212086"/>
              <a:gd name="connsiteY10" fmla="*/ 0 h 6858000"/>
              <a:gd name="connsiteX11" fmla="*/ 5212086 w 5212086"/>
              <a:gd name="connsiteY11" fmla="*/ 6858000 h 6858000"/>
              <a:gd name="connsiteX12" fmla="*/ 3272796 w 521208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2086" h="6858000">
                <a:moveTo>
                  <a:pt x="3272796" y="6858000"/>
                </a:moveTo>
                <a:cubicBezTo>
                  <a:pt x="3239776" y="6784340"/>
                  <a:pt x="3210567" y="6708140"/>
                  <a:pt x="3187706" y="6630670"/>
                </a:cubicBezTo>
                <a:cubicBezTo>
                  <a:pt x="2983236" y="5951220"/>
                  <a:pt x="2824486" y="5759450"/>
                  <a:pt x="1892306" y="5591810"/>
                </a:cubicBezTo>
                <a:lnTo>
                  <a:pt x="1892306" y="5591810"/>
                </a:lnTo>
                <a:cubicBezTo>
                  <a:pt x="814076" y="5398770"/>
                  <a:pt x="-2533" y="4456430"/>
                  <a:pt x="6" y="3322320"/>
                </a:cubicBezTo>
                <a:cubicBezTo>
                  <a:pt x="2546" y="2609850"/>
                  <a:pt x="328936" y="1974850"/>
                  <a:pt x="839476" y="1554480"/>
                </a:cubicBezTo>
                <a:lnTo>
                  <a:pt x="839476" y="1554480"/>
                </a:lnTo>
                <a:cubicBezTo>
                  <a:pt x="839476" y="1554480"/>
                  <a:pt x="840746" y="1554480"/>
                  <a:pt x="840746" y="1553210"/>
                </a:cubicBezTo>
                <a:cubicBezTo>
                  <a:pt x="842017" y="1551940"/>
                  <a:pt x="842017" y="1551940"/>
                  <a:pt x="843286" y="1550670"/>
                </a:cubicBezTo>
                <a:cubicBezTo>
                  <a:pt x="1445267" y="1055370"/>
                  <a:pt x="1798326" y="529590"/>
                  <a:pt x="1903736" y="0"/>
                </a:cubicBezTo>
                <a:lnTo>
                  <a:pt x="5212086" y="0"/>
                </a:lnTo>
                <a:lnTo>
                  <a:pt x="5212086" y="6858000"/>
                </a:lnTo>
                <a:lnTo>
                  <a:pt x="3272796"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0" name="slide number">
            <a:extLst>
              <a:ext uri="{FF2B5EF4-FFF2-40B4-BE49-F238E27FC236}">
                <a16:creationId xmlns:a16="http://schemas.microsoft.com/office/drawing/2014/main" id="{272F8D9B-DF69-555B-800C-8ADC4ADF18D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C9D26DD4-C6C1-6BA0-335B-0C75BD8475C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FCDC5009-F380-8E8C-EB3C-6FA6981D1BAA}"/>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3" name="title">
            <a:extLst>
              <a:ext uri="{FF2B5EF4-FFF2-40B4-BE49-F238E27FC236}">
                <a16:creationId xmlns:a16="http://schemas.microsoft.com/office/drawing/2014/main" id="{D055392A-66DF-B5A8-490D-AAE53E075808}"/>
              </a:ext>
            </a:extLst>
          </p:cNvPr>
          <p:cNvSpPr>
            <a:spLocks noGrp="1"/>
          </p:cNvSpPr>
          <p:nvPr>
            <p:ph type="title"/>
          </p:nvPr>
        </p:nvSpPr>
        <p:spPr>
          <a:xfrm>
            <a:off x="540000" y="620713"/>
            <a:ext cx="9649029" cy="5544287"/>
          </a:xfrm>
        </p:spPr>
        <p:txBody>
          <a:bodyPr vert="horz" anchor="ctr" anchorCtr="0"/>
          <a:lstStyle>
            <a:lvl1pPr>
              <a:lnSpc>
                <a:spcPct val="100000"/>
              </a:lnSpc>
              <a:defRPr lang="en-US" sz="6000" b="1" kern="1200" baseline="0" noProof="0" dirty="0">
                <a:solidFill>
                  <a:schemeClr val="tx1"/>
                </a:solidFill>
                <a:latin typeface="Segoe UI Semibold" panose="020B0502040204020203" pitchFamily="34" charset="0"/>
                <a:ea typeface="Calibri" panose="020F0502020204030204" pitchFamily="34" charset="0"/>
                <a:cs typeface="Segoe UI Semibold" panose="020B0502040204020203" pitchFamily="34" charset="0"/>
              </a:defRPr>
            </a:lvl1pPr>
          </a:lstStyle>
          <a:p>
            <a:r>
              <a:rPr lang="de-DE"/>
              <a:t>Mastertitelformat bearbeiten</a:t>
            </a:r>
            <a:endParaRPr lang="en-US" dirty="0"/>
          </a:p>
        </p:txBody>
      </p:sp>
    </p:spTree>
    <p:extLst>
      <p:ext uri="{BB962C8B-B14F-4D97-AF65-F5344CB8AC3E}">
        <p14:creationId xmlns:p14="http://schemas.microsoft.com/office/powerpoint/2010/main" val="18012052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  040 : picture full size : 60pt white letters">
    <p:spTree>
      <p:nvGrpSpPr>
        <p:cNvPr id="1" name=""/>
        <p:cNvGrpSpPr/>
        <p:nvPr/>
      </p:nvGrpSpPr>
      <p:grpSpPr>
        <a:xfrm>
          <a:off x="0" y="0"/>
          <a:ext cx="0" cy="0"/>
          <a:chOff x="0" y="0"/>
          <a:chExt cx="0" cy="0"/>
        </a:xfrm>
      </p:grpSpPr>
      <p:sp>
        <p:nvSpPr>
          <p:cNvPr id="10" name="full size picture">
            <a:extLst>
              <a:ext uri="{FF2B5EF4-FFF2-40B4-BE49-F238E27FC236}">
                <a16:creationId xmlns:a16="http://schemas.microsoft.com/office/drawing/2014/main" id="{7A7E08B6-BD3C-57EF-6FE8-694BE5ACAE77}"/>
              </a:ext>
            </a:extLst>
          </p:cNvPr>
          <p:cNvSpPr>
            <a:spLocks noGrp="1" noChangeAspect="1"/>
          </p:cNvSpPr>
          <p:nvPr>
            <p:ph type="pic" sz="quarter" idx="25"/>
          </p:nvPr>
        </p:nvSpPr>
        <p:spPr>
          <a:xfrm>
            <a:off x="0" y="-1"/>
            <a:ext cx="12192000" cy="6858001"/>
          </a:xfrm>
          <a:prstGeom prst="rect">
            <a:avLst/>
          </a:prstGeom>
          <a:solidFill>
            <a:schemeClr val="bg1"/>
          </a:solidFill>
          <a:ln w="12692" cap="flat">
            <a:noFill/>
            <a:prstDash val="solid"/>
            <a:miter/>
          </a:ln>
        </p:spPr>
        <p:txBody>
          <a:bodyPr vert="horz" lIns="0" tIns="0" rIns="0" bIns="0" rtlCol="0" anchor="ctr">
            <a:noAutofit/>
          </a:bodyPr>
          <a:lstStyle>
            <a:lvl1pPr>
              <a:defRPr lang="en-DE" dirty="0"/>
            </a:lvl1pPr>
          </a:lstStyle>
          <a:p>
            <a:pPr lvl="0"/>
            <a:r>
              <a:rPr lang="de-DE"/>
              <a:t>Bild durch Klicken auf Symbol hinzufügen</a:t>
            </a:r>
            <a:endParaRPr lang="en-DE" dirty="0"/>
          </a:p>
        </p:txBody>
      </p:sp>
      <p:sp>
        <p:nvSpPr>
          <p:cNvPr id="11" name="slide number">
            <a:extLst>
              <a:ext uri="{FF2B5EF4-FFF2-40B4-BE49-F238E27FC236}">
                <a16:creationId xmlns:a16="http://schemas.microsoft.com/office/drawing/2014/main" id="{29A7F2AB-CD90-A9B9-9856-54B2A40E7453}"/>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62BD523D-7BC3-2DEF-3802-01ECC7DED6B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FC8A5331-6A12-6483-81EF-B3F6E6618A2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3" name="title">
            <a:extLst>
              <a:ext uri="{FF2B5EF4-FFF2-40B4-BE49-F238E27FC236}">
                <a16:creationId xmlns:a16="http://schemas.microsoft.com/office/drawing/2014/main" id="{D055392A-66DF-B5A8-490D-AAE53E075808}"/>
              </a:ext>
            </a:extLst>
          </p:cNvPr>
          <p:cNvSpPr>
            <a:spLocks noGrp="1"/>
          </p:cNvSpPr>
          <p:nvPr>
            <p:ph type="title"/>
          </p:nvPr>
        </p:nvSpPr>
        <p:spPr>
          <a:xfrm>
            <a:off x="540000" y="441324"/>
            <a:ext cx="11088000" cy="5724525"/>
          </a:xfrm>
        </p:spPr>
        <p:txBody>
          <a:bodyPr vert="horz" anchor="b" anchorCtr="0"/>
          <a:lstStyle>
            <a:lvl1pPr>
              <a:lnSpc>
                <a:spcPct val="100000"/>
              </a:lnSpc>
              <a:defRPr sz="6000">
                <a:solidFill>
                  <a:schemeClr val="bg1"/>
                </a:solidFill>
              </a:defRPr>
            </a:lvl1pPr>
          </a:lstStyle>
          <a:p>
            <a:r>
              <a:rPr lang="de-DE"/>
              <a:t>Mastertitelformat bearbeiten</a:t>
            </a:r>
            <a:endParaRPr lang="en-US" dirty="0"/>
          </a:p>
        </p:txBody>
      </p:sp>
    </p:spTree>
    <p:extLst>
      <p:ext uri="{BB962C8B-B14F-4D97-AF65-F5344CB8AC3E}">
        <p14:creationId xmlns:p14="http://schemas.microsoft.com/office/powerpoint/2010/main" val="42704353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B  041a : title page shape right : customer logo">
    <p:spTree>
      <p:nvGrpSpPr>
        <p:cNvPr id="1" name=""/>
        <p:cNvGrpSpPr/>
        <p:nvPr/>
      </p:nvGrpSpPr>
      <p:grpSpPr>
        <a:xfrm>
          <a:off x="0" y="0"/>
          <a:ext cx="0" cy="0"/>
          <a:chOff x="0" y="0"/>
          <a:chExt cx="0" cy="0"/>
        </a:xfrm>
      </p:grpSpPr>
      <p:sp>
        <p:nvSpPr>
          <p:cNvPr id="5" name="shape">
            <a:extLst>
              <a:ext uri="{FF2B5EF4-FFF2-40B4-BE49-F238E27FC236}">
                <a16:creationId xmlns:a16="http://schemas.microsoft.com/office/drawing/2014/main" id="{4BB14D95-49AB-4529-5662-66D2A1B26854}"/>
              </a:ext>
            </a:extLst>
          </p:cNvPr>
          <p:cNvSpPr/>
          <p:nvPr/>
        </p:nvSpPr>
        <p:spPr>
          <a:xfrm>
            <a:off x="6979913" y="0"/>
            <a:ext cx="5212086" cy="6858000"/>
          </a:xfrm>
          <a:custGeom>
            <a:avLst/>
            <a:gdLst>
              <a:gd name="connsiteX0" fmla="*/ 3272796 w 5212086"/>
              <a:gd name="connsiteY0" fmla="*/ 6858000 h 6858000"/>
              <a:gd name="connsiteX1" fmla="*/ 3187706 w 5212086"/>
              <a:gd name="connsiteY1" fmla="*/ 6630670 h 6858000"/>
              <a:gd name="connsiteX2" fmla="*/ 1892306 w 5212086"/>
              <a:gd name="connsiteY2" fmla="*/ 5591810 h 6858000"/>
              <a:gd name="connsiteX3" fmla="*/ 1892306 w 5212086"/>
              <a:gd name="connsiteY3" fmla="*/ 5591810 h 6858000"/>
              <a:gd name="connsiteX4" fmla="*/ 6 w 5212086"/>
              <a:gd name="connsiteY4" fmla="*/ 3322320 h 6858000"/>
              <a:gd name="connsiteX5" fmla="*/ 839476 w 5212086"/>
              <a:gd name="connsiteY5" fmla="*/ 1554480 h 6858000"/>
              <a:gd name="connsiteX6" fmla="*/ 839476 w 5212086"/>
              <a:gd name="connsiteY6" fmla="*/ 1554480 h 6858000"/>
              <a:gd name="connsiteX7" fmla="*/ 840746 w 5212086"/>
              <a:gd name="connsiteY7" fmla="*/ 1553210 h 6858000"/>
              <a:gd name="connsiteX8" fmla="*/ 843286 w 5212086"/>
              <a:gd name="connsiteY8" fmla="*/ 1550670 h 6858000"/>
              <a:gd name="connsiteX9" fmla="*/ 1903736 w 5212086"/>
              <a:gd name="connsiteY9" fmla="*/ 0 h 6858000"/>
              <a:gd name="connsiteX10" fmla="*/ 5212086 w 5212086"/>
              <a:gd name="connsiteY10" fmla="*/ 0 h 6858000"/>
              <a:gd name="connsiteX11" fmla="*/ 5212086 w 5212086"/>
              <a:gd name="connsiteY11" fmla="*/ 6858000 h 6858000"/>
              <a:gd name="connsiteX12" fmla="*/ 3272796 w 521208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2086" h="6858000">
                <a:moveTo>
                  <a:pt x="3272796" y="6858000"/>
                </a:moveTo>
                <a:cubicBezTo>
                  <a:pt x="3239776" y="6784340"/>
                  <a:pt x="3210567" y="6708140"/>
                  <a:pt x="3187706" y="6630670"/>
                </a:cubicBezTo>
                <a:cubicBezTo>
                  <a:pt x="2983236" y="5951220"/>
                  <a:pt x="2824486" y="5759450"/>
                  <a:pt x="1892306" y="5591810"/>
                </a:cubicBezTo>
                <a:lnTo>
                  <a:pt x="1892306" y="5591810"/>
                </a:lnTo>
                <a:cubicBezTo>
                  <a:pt x="814076" y="5398770"/>
                  <a:pt x="-2533" y="4456430"/>
                  <a:pt x="6" y="3322320"/>
                </a:cubicBezTo>
                <a:cubicBezTo>
                  <a:pt x="2546" y="2609850"/>
                  <a:pt x="328936" y="1974850"/>
                  <a:pt x="839476" y="1554480"/>
                </a:cubicBezTo>
                <a:lnTo>
                  <a:pt x="839476" y="1554480"/>
                </a:lnTo>
                <a:cubicBezTo>
                  <a:pt x="839476" y="1554480"/>
                  <a:pt x="840746" y="1554480"/>
                  <a:pt x="840746" y="1553210"/>
                </a:cubicBezTo>
                <a:cubicBezTo>
                  <a:pt x="842017" y="1551940"/>
                  <a:pt x="842017" y="1551940"/>
                  <a:pt x="843286" y="1550670"/>
                </a:cubicBezTo>
                <a:cubicBezTo>
                  <a:pt x="1445267" y="1055370"/>
                  <a:pt x="1798326" y="529590"/>
                  <a:pt x="1903736" y="0"/>
                </a:cubicBezTo>
                <a:lnTo>
                  <a:pt x="5212086" y="0"/>
                </a:lnTo>
                <a:lnTo>
                  <a:pt x="5212086" y="6858000"/>
                </a:lnTo>
                <a:lnTo>
                  <a:pt x="3272796"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65" name="subtitle">
            <a:extLst>
              <a:ext uri="{FF2B5EF4-FFF2-40B4-BE49-F238E27FC236}">
                <a16:creationId xmlns:a16="http://schemas.microsoft.com/office/drawing/2014/main" id="{24BBF85F-CCE6-44E7-C627-CC3E4647BA3C}"/>
              </a:ext>
            </a:extLst>
          </p:cNvPr>
          <p:cNvSpPr>
            <a:spLocks noGrp="1"/>
          </p:cNvSpPr>
          <p:nvPr>
            <p:ph type="body" sz="quarter" idx="11"/>
          </p:nvPr>
        </p:nvSpPr>
        <p:spPr>
          <a:xfrm>
            <a:off x="540000" y="5220000"/>
            <a:ext cx="6120000" cy="900000"/>
          </a:xfrm>
          <a:prstGeom prst="rect">
            <a:avLst/>
          </a:prstGeom>
          <a:noFill/>
        </p:spPr>
        <p:txBody>
          <a:bodyPr vert="horz" lIns="0" tIns="0" rIns="108000" bIns="0" rtlCol="0">
            <a:noAutofit/>
          </a:bodyPr>
          <a:lstStyle>
            <a:lvl4pPr>
              <a:defRPr lang="en-US" dirty="0">
                <a:latin typeface="Segoe UI" panose="020B0502040204020203" pitchFamily="34" charset="0"/>
                <a:cs typeface="Segoe UI" panose="020B0502040204020203" pitchFamily="34" charset="0"/>
              </a:defRPr>
            </a:lvl4pPr>
          </a:lstStyle>
          <a:p>
            <a:pPr lvl="0"/>
            <a:r>
              <a:rPr lang="de-DE"/>
              <a:t>Mastertextformat bearbeiten</a:t>
            </a:r>
          </a:p>
        </p:txBody>
      </p:sp>
      <p:sp>
        <p:nvSpPr>
          <p:cNvPr id="3" name="subhead">
            <a:extLst>
              <a:ext uri="{FF2B5EF4-FFF2-40B4-BE49-F238E27FC236}">
                <a16:creationId xmlns:a16="http://schemas.microsoft.com/office/drawing/2014/main" id="{3BC3BCD8-A855-5678-25AE-D2E54EED1B0A}"/>
              </a:ext>
            </a:extLst>
          </p:cNvPr>
          <p:cNvSpPr>
            <a:spLocks noGrp="1"/>
          </p:cNvSpPr>
          <p:nvPr>
            <p:ph type="subTitle" idx="1"/>
          </p:nvPr>
        </p:nvSpPr>
        <p:spPr>
          <a:xfrm>
            <a:off x="540000" y="3960000"/>
            <a:ext cx="6120000" cy="864000"/>
          </a:xfrm>
        </p:spPr>
        <p:txBody>
          <a:bodyPr/>
          <a:lstStyle>
            <a:lvl1pPr marL="0" indent="0" algn="l">
              <a:lnSpc>
                <a:spcPct val="100000"/>
              </a:lnSpc>
              <a:buNone/>
              <a:defRPr sz="2000" baseline="0">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le">
            <a:extLst>
              <a:ext uri="{FF2B5EF4-FFF2-40B4-BE49-F238E27FC236}">
                <a16:creationId xmlns:a16="http://schemas.microsoft.com/office/drawing/2014/main" id="{ADD89440-F2F5-D4C4-310C-AC38DD644491}"/>
              </a:ext>
            </a:extLst>
          </p:cNvPr>
          <p:cNvSpPr>
            <a:spLocks noGrp="1"/>
          </p:cNvSpPr>
          <p:nvPr>
            <p:ph type="ctrTitle"/>
          </p:nvPr>
        </p:nvSpPr>
        <p:spPr>
          <a:xfrm>
            <a:off x="540000" y="2108200"/>
            <a:ext cx="6120000" cy="1671800"/>
          </a:xfrm>
        </p:spPr>
        <p:txBody>
          <a:bodyPr vert="horz" anchor="b"/>
          <a:lstStyle>
            <a:lvl1pPr algn="l">
              <a:lnSpc>
                <a:spcPts val="4000"/>
              </a:lnSpc>
              <a:defRPr sz="3600">
                <a:solidFill>
                  <a:schemeClr val="tx1"/>
                </a:solidFill>
              </a:defRPr>
            </a:lvl1pPr>
          </a:lstStyle>
          <a:p>
            <a:r>
              <a:rPr lang="de-DE"/>
              <a:t>Mastertitelformat bearbeiten</a:t>
            </a:r>
            <a:endParaRPr lang="en-US" dirty="0"/>
          </a:p>
        </p:txBody>
      </p:sp>
      <p:sp>
        <p:nvSpPr>
          <p:cNvPr id="4" name="customer logo">
            <a:extLst>
              <a:ext uri="{FF2B5EF4-FFF2-40B4-BE49-F238E27FC236}">
                <a16:creationId xmlns:a16="http://schemas.microsoft.com/office/drawing/2014/main" id="{F29030CF-FCFE-645A-2C3D-221138F1465C}"/>
              </a:ext>
            </a:extLst>
          </p:cNvPr>
          <p:cNvSpPr>
            <a:spLocks noGrp="1"/>
          </p:cNvSpPr>
          <p:nvPr>
            <p:ph type="pic" sz="quarter" idx="10"/>
          </p:nvPr>
        </p:nvSpPr>
        <p:spPr>
          <a:xfrm>
            <a:off x="576000" y="1479856"/>
            <a:ext cx="2124000" cy="468000"/>
          </a:xfrm>
        </p:spPr>
        <p:txBody>
          <a:bodyPr/>
          <a:lstStyle>
            <a:lvl1pPr>
              <a:defRPr/>
            </a:lvl1p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Bild durch Klicken auf Symbol hinzufügen</a:t>
            </a:r>
            <a:endParaRPr lang="en-US" dirty="0"/>
          </a:p>
        </p:txBody>
      </p:sp>
      <p:pic>
        <p:nvPicPr>
          <p:cNvPr id="55" name="valantic logo">
            <a:extLst>
              <a:ext uri="{FF2B5EF4-FFF2-40B4-BE49-F238E27FC236}">
                <a16:creationId xmlns:a16="http://schemas.microsoft.com/office/drawing/2014/main" id="{F7AE2AE6-2DD6-B611-8273-3605A63BC1C8}"/>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a:stretch/>
        </p:blipFill>
        <p:spPr>
          <a:xfrm>
            <a:off x="225526" y="123982"/>
            <a:ext cx="2802006" cy="1080000"/>
          </a:xfrm>
          <a:prstGeom prst="rect">
            <a:avLst/>
          </a:prstGeom>
        </p:spPr>
      </p:pic>
    </p:spTree>
    <p:extLst>
      <p:ext uri="{BB962C8B-B14F-4D97-AF65-F5344CB8AC3E}">
        <p14:creationId xmlns:p14="http://schemas.microsoft.com/office/powerpoint/2010/main" val="27044577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B  042 : title page shape left : picture">
    <p:spTree>
      <p:nvGrpSpPr>
        <p:cNvPr id="1" name=""/>
        <p:cNvGrpSpPr/>
        <p:nvPr/>
      </p:nvGrpSpPr>
      <p:grpSpPr>
        <a:xfrm>
          <a:off x="0" y="0"/>
          <a:ext cx="0" cy="0"/>
          <a:chOff x="0" y="0"/>
          <a:chExt cx="0" cy="0"/>
        </a:xfrm>
      </p:grpSpPr>
      <p:sp>
        <p:nvSpPr>
          <p:cNvPr id="5" name="shape">
            <a:extLst>
              <a:ext uri="{FF2B5EF4-FFF2-40B4-BE49-F238E27FC236}">
                <a16:creationId xmlns:a16="http://schemas.microsoft.com/office/drawing/2014/main" id="{AD6F41C9-4A93-32C8-6A07-1E2E6A0F1E71}"/>
              </a:ext>
            </a:extLst>
          </p:cNvPr>
          <p:cNvSpPr/>
          <p:nvPr/>
        </p:nvSpPr>
        <p:spPr>
          <a:xfrm>
            <a:off x="0" y="0"/>
            <a:ext cx="5447966" cy="5679440"/>
          </a:xfrm>
          <a:custGeom>
            <a:avLst/>
            <a:gdLst>
              <a:gd name="connsiteX0" fmla="*/ 0 w 5447966"/>
              <a:gd name="connsiteY0" fmla="*/ 5679440 h 5679440"/>
              <a:gd name="connsiteX1" fmla="*/ 1985010 w 5447966"/>
              <a:gd name="connsiteY1" fmla="*/ 4832350 h 5679440"/>
              <a:gd name="connsiteX2" fmla="*/ 5369560 w 5447966"/>
              <a:gd name="connsiteY2" fmla="*/ 1478280 h 5679440"/>
              <a:gd name="connsiteX3" fmla="*/ 5394960 w 5447966"/>
              <a:gd name="connsiteY3" fmla="*/ 0 h 5679440"/>
              <a:gd name="connsiteX4" fmla="*/ 0 w 5447966"/>
              <a:gd name="connsiteY4" fmla="*/ 0 h 5679440"/>
              <a:gd name="connsiteX5" fmla="*/ 0 w 5447966"/>
              <a:gd name="connsiteY5" fmla="*/ 5679440 h 567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7966" h="5679440">
                <a:moveTo>
                  <a:pt x="0" y="5679440"/>
                </a:moveTo>
                <a:cubicBezTo>
                  <a:pt x="386080" y="5322570"/>
                  <a:pt x="1009650" y="5035550"/>
                  <a:pt x="1985010" y="4832350"/>
                </a:cubicBezTo>
                <a:cubicBezTo>
                  <a:pt x="3644900" y="4525010"/>
                  <a:pt x="5027930" y="3234690"/>
                  <a:pt x="5369560" y="1478280"/>
                </a:cubicBezTo>
                <a:cubicBezTo>
                  <a:pt x="5467350" y="976630"/>
                  <a:pt x="5471160" y="477520"/>
                  <a:pt x="5394960" y="0"/>
                </a:cubicBezTo>
                <a:lnTo>
                  <a:pt x="0" y="0"/>
                </a:lnTo>
                <a:lnTo>
                  <a:pt x="0" y="567944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65" name="subtitle">
            <a:extLst>
              <a:ext uri="{FF2B5EF4-FFF2-40B4-BE49-F238E27FC236}">
                <a16:creationId xmlns:a16="http://schemas.microsoft.com/office/drawing/2014/main" id="{24BBF85F-CCE6-44E7-C627-CC3E4647BA3C}"/>
              </a:ext>
            </a:extLst>
          </p:cNvPr>
          <p:cNvSpPr>
            <a:spLocks noGrp="1"/>
          </p:cNvSpPr>
          <p:nvPr>
            <p:ph type="body" sz="quarter" idx="11"/>
          </p:nvPr>
        </p:nvSpPr>
        <p:spPr>
          <a:xfrm>
            <a:off x="6339100" y="5220000"/>
            <a:ext cx="5305138" cy="900000"/>
          </a:xfrm>
          <a:prstGeom prst="rect">
            <a:avLst/>
          </a:prstGeom>
          <a:noFill/>
        </p:spPr>
        <p:txBody>
          <a:bodyPr vert="horz" lIns="0" tIns="0" rIns="108000" bIns="0" rtlCol="0">
            <a:noAutofit/>
          </a:bodyPr>
          <a:lstStyle>
            <a:lvl4pPr>
              <a:defRPr lang="en-US" dirty="0">
                <a:latin typeface="Segoe UI" panose="020B0502040204020203" pitchFamily="34" charset="0"/>
                <a:cs typeface="Segoe UI" panose="020B0502040204020203" pitchFamily="34" charset="0"/>
              </a:defRPr>
            </a:lvl4pPr>
          </a:lstStyle>
          <a:p>
            <a:pPr lvl="0"/>
            <a:r>
              <a:rPr lang="de-DE"/>
              <a:t>Mastertextformat bearbeiten</a:t>
            </a:r>
          </a:p>
        </p:txBody>
      </p:sp>
      <p:sp>
        <p:nvSpPr>
          <p:cNvPr id="3" name="subhead">
            <a:extLst>
              <a:ext uri="{FF2B5EF4-FFF2-40B4-BE49-F238E27FC236}">
                <a16:creationId xmlns:a16="http://schemas.microsoft.com/office/drawing/2014/main" id="{3BC3BCD8-A855-5678-25AE-D2E54EED1B0A}"/>
              </a:ext>
            </a:extLst>
          </p:cNvPr>
          <p:cNvSpPr>
            <a:spLocks noGrp="1"/>
          </p:cNvSpPr>
          <p:nvPr>
            <p:ph type="subTitle" idx="1"/>
          </p:nvPr>
        </p:nvSpPr>
        <p:spPr>
          <a:xfrm>
            <a:off x="6352238" y="3960000"/>
            <a:ext cx="5292000" cy="864000"/>
          </a:xfrm>
        </p:spPr>
        <p:txBody>
          <a:bodyPr/>
          <a:lstStyle>
            <a:lvl1pPr marL="0" indent="0" algn="l">
              <a:lnSpc>
                <a:spcPct val="100000"/>
              </a:lnSpc>
              <a:buNone/>
              <a:defRPr sz="2000" baseline="0">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le">
            <a:extLst>
              <a:ext uri="{FF2B5EF4-FFF2-40B4-BE49-F238E27FC236}">
                <a16:creationId xmlns:a16="http://schemas.microsoft.com/office/drawing/2014/main" id="{ADD89440-F2F5-D4C4-310C-AC38DD644491}"/>
              </a:ext>
            </a:extLst>
          </p:cNvPr>
          <p:cNvSpPr>
            <a:spLocks noGrp="1"/>
          </p:cNvSpPr>
          <p:nvPr>
            <p:ph type="ctrTitle"/>
          </p:nvPr>
        </p:nvSpPr>
        <p:spPr>
          <a:xfrm>
            <a:off x="6352238" y="1800000"/>
            <a:ext cx="5292000" cy="1980000"/>
          </a:xfrm>
        </p:spPr>
        <p:txBody>
          <a:bodyPr vert="horz" anchor="b"/>
          <a:lstStyle>
            <a:lvl1pPr algn="l">
              <a:lnSpc>
                <a:spcPts val="4000"/>
              </a:lnSpc>
              <a:defRPr sz="3600">
                <a:solidFill>
                  <a:schemeClr val="tx1"/>
                </a:solidFill>
              </a:defRPr>
            </a:lvl1pPr>
          </a:lstStyle>
          <a:p>
            <a:r>
              <a:rPr lang="de-DE"/>
              <a:t>Mastertitelformat bearbeiten</a:t>
            </a:r>
            <a:endParaRPr lang="en-US" dirty="0"/>
          </a:p>
        </p:txBody>
      </p:sp>
      <p:sp>
        <p:nvSpPr>
          <p:cNvPr id="6" name="picture">
            <a:extLst>
              <a:ext uri="{FF2B5EF4-FFF2-40B4-BE49-F238E27FC236}">
                <a16:creationId xmlns:a16="http://schemas.microsoft.com/office/drawing/2014/main" id="{CEA84F44-0235-7522-0E1C-89824049EB0F}"/>
              </a:ext>
            </a:extLst>
          </p:cNvPr>
          <p:cNvSpPr>
            <a:spLocks noGrp="1"/>
          </p:cNvSpPr>
          <p:nvPr>
            <p:ph type="pic" sz="quarter" idx="14"/>
          </p:nvPr>
        </p:nvSpPr>
        <p:spPr>
          <a:xfrm>
            <a:off x="1440000" y="1476000"/>
            <a:ext cx="4392000" cy="4392000"/>
          </a:xfrm>
          <a:prstGeom prst="ellipse">
            <a:avLst/>
          </a:prstGeom>
          <a:solidFill>
            <a:schemeClr val="bg1"/>
          </a:solidFill>
        </p:spPr>
        <p:txBody>
          <a:bodyPr anchor="ctr"/>
          <a:lstStyle>
            <a:lvl1pPr algn="ctr">
              <a:defRPr/>
            </a:lvl1pPr>
          </a:lstStyle>
          <a:p>
            <a:r>
              <a:rPr lang="de-DE"/>
              <a:t>Bild durch Klicken auf Symbol hinzufügen</a:t>
            </a:r>
            <a:endParaRPr lang="de-DE" dirty="0"/>
          </a:p>
        </p:txBody>
      </p:sp>
      <p:pic>
        <p:nvPicPr>
          <p:cNvPr id="7" name="valantic logo">
            <a:extLst>
              <a:ext uri="{FF2B5EF4-FFF2-40B4-BE49-F238E27FC236}">
                <a16:creationId xmlns:a16="http://schemas.microsoft.com/office/drawing/2014/main" id="{229F41A1-E67C-3D74-44C9-B4997EBD3AC6}"/>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a:stretch/>
        </p:blipFill>
        <p:spPr>
          <a:xfrm>
            <a:off x="9168552" y="123982"/>
            <a:ext cx="2802006" cy="1080000"/>
          </a:xfrm>
          <a:prstGeom prst="rect">
            <a:avLst/>
          </a:prstGeom>
        </p:spPr>
      </p:pic>
    </p:spTree>
    <p:extLst>
      <p:ext uri="{BB962C8B-B14F-4D97-AF65-F5344CB8AC3E}">
        <p14:creationId xmlns:p14="http://schemas.microsoft.com/office/powerpoint/2010/main" val="199200944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B  043 : title page shape right : picture ">
    <p:spTree>
      <p:nvGrpSpPr>
        <p:cNvPr id="1" name=""/>
        <p:cNvGrpSpPr/>
        <p:nvPr/>
      </p:nvGrpSpPr>
      <p:grpSpPr>
        <a:xfrm>
          <a:off x="0" y="0"/>
          <a:ext cx="0" cy="0"/>
          <a:chOff x="0" y="0"/>
          <a:chExt cx="0" cy="0"/>
        </a:xfrm>
      </p:grpSpPr>
      <p:sp>
        <p:nvSpPr>
          <p:cNvPr id="4" name="shape">
            <a:extLst>
              <a:ext uri="{FF2B5EF4-FFF2-40B4-BE49-F238E27FC236}">
                <a16:creationId xmlns:a16="http://schemas.microsoft.com/office/drawing/2014/main" id="{13C4ED9C-0F15-4EBF-24ED-452F2FAAA345}"/>
              </a:ext>
            </a:extLst>
          </p:cNvPr>
          <p:cNvSpPr/>
          <p:nvPr/>
        </p:nvSpPr>
        <p:spPr>
          <a:xfrm>
            <a:off x="6240779" y="0"/>
            <a:ext cx="5951220" cy="6858000"/>
          </a:xfrm>
          <a:custGeom>
            <a:avLst/>
            <a:gdLst>
              <a:gd name="connsiteX0" fmla="*/ 4410710 w 5951220"/>
              <a:gd name="connsiteY0" fmla="*/ 2077720 h 6858000"/>
              <a:gd name="connsiteX1" fmla="*/ 4418330 w 5951220"/>
              <a:gd name="connsiteY1" fmla="*/ 2137410 h 6858000"/>
              <a:gd name="connsiteX2" fmla="*/ 4418330 w 5951220"/>
              <a:gd name="connsiteY2" fmla="*/ 2137410 h 6858000"/>
              <a:gd name="connsiteX3" fmla="*/ 3103880 w 5951220"/>
              <a:gd name="connsiteY3" fmla="*/ 3703320 h 6858000"/>
              <a:gd name="connsiteX4" fmla="*/ 3103880 w 5951220"/>
              <a:gd name="connsiteY4" fmla="*/ 3703320 h 6858000"/>
              <a:gd name="connsiteX5" fmla="*/ 0 w 5951220"/>
              <a:gd name="connsiteY5" fmla="*/ 6858000 h 6858000"/>
              <a:gd name="connsiteX6" fmla="*/ 5951220 w 5951220"/>
              <a:gd name="connsiteY6" fmla="*/ 6858000 h 6858000"/>
              <a:gd name="connsiteX7" fmla="*/ 5951220 w 5951220"/>
              <a:gd name="connsiteY7" fmla="*/ 0 h 6858000"/>
              <a:gd name="connsiteX8" fmla="*/ 4947920 w 5951220"/>
              <a:gd name="connsiteY8" fmla="*/ 0 h 6858000"/>
              <a:gd name="connsiteX9" fmla="*/ 4410710 w 5951220"/>
              <a:gd name="connsiteY9" fmla="*/ 207772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51220" h="6858000">
                <a:moveTo>
                  <a:pt x="4410710" y="2077720"/>
                </a:moveTo>
                <a:cubicBezTo>
                  <a:pt x="4413251" y="2098040"/>
                  <a:pt x="4415790" y="2117090"/>
                  <a:pt x="4418330" y="2137410"/>
                </a:cubicBezTo>
                <a:lnTo>
                  <a:pt x="4418330" y="2137410"/>
                </a:lnTo>
                <a:cubicBezTo>
                  <a:pt x="4540251" y="2990850"/>
                  <a:pt x="4259580" y="3456940"/>
                  <a:pt x="3103880" y="3703320"/>
                </a:cubicBezTo>
                <a:lnTo>
                  <a:pt x="3103880" y="3703320"/>
                </a:lnTo>
                <a:cubicBezTo>
                  <a:pt x="1507490" y="4041140"/>
                  <a:pt x="303530" y="5308600"/>
                  <a:pt x="0" y="6858000"/>
                </a:cubicBezTo>
                <a:lnTo>
                  <a:pt x="5951220" y="6858000"/>
                </a:lnTo>
                <a:lnTo>
                  <a:pt x="5951220" y="0"/>
                </a:lnTo>
                <a:lnTo>
                  <a:pt x="4947920" y="0"/>
                </a:lnTo>
                <a:cubicBezTo>
                  <a:pt x="4527551" y="579120"/>
                  <a:pt x="4316730" y="1311910"/>
                  <a:pt x="4410710" y="2077720"/>
                </a:cubicBez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47" name="picture">
            <a:extLst>
              <a:ext uri="{FF2B5EF4-FFF2-40B4-BE49-F238E27FC236}">
                <a16:creationId xmlns:a16="http://schemas.microsoft.com/office/drawing/2014/main" id="{4D41E0E2-1CE2-8D15-96F8-054C2EE83B07}"/>
              </a:ext>
            </a:extLst>
          </p:cNvPr>
          <p:cNvSpPr>
            <a:spLocks noGrp="1" noChangeAspect="1"/>
          </p:cNvSpPr>
          <p:nvPr>
            <p:ph type="pic" sz="quarter" idx="16"/>
          </p:nvPr>
        </p:nvSpPr>
        <p:spPr>
          <a:xfrm>
            <a:off x="6084000" y="1512000"/>
            <a:ext cx="3960000" cy="3960000"/>
          </a:xfrm>
          <a:prstGeom prst="ellipse">
            <a:avLst/>
          </a:prstGeom>
          <a:solidFill>
            <a:schemeClr val="bg1"/>
          </a:solidFill>
        </p:spPr>
        <p:txBody>
          <a:bodyPr anchor="ctr"/>
          <a:lstStyle>
            <a:lvl1pPr algn="ctr">
              <a:defRPr/>
            </a:lvl1pPr>
          </a:lstStyle>
          <a:p>
            <a:r>
              <a:rPr lang="de-DE"/>
              <a:t>Bild durch Klicken auf Symbol hinzufügen</a:t>
            </a:r>
            <a:endParaRPr lang="de-DE" dirty="0"/>
          </a:p>
        </p:txBody>
      </p:sp>
      <p:sp>
        <p:nvSpPr>
          <p:cNvPr id="65" name="subtitle">
            <a:extLst>
              <a:ext uri="{FF2B5EF4-FFF2-40B4-BE49-F238E27FC236}">
                <a16:creationId xmlns:a16="http://schemas.microsoft.com/office/drawing/2014/main" id="{24BBF85F-CCE6-44E7-C627-CC3E4647BA3C}"/>
              </a:ext>
            </a:extLst>
          </p:cNvPr>
          <p:cNvSpPr>
            <a:spLocks noGrp="1"/>
          </p:cNvSpPr>
          <p:nvPr>
            <p:ph type="body" sz="quarter" idx="11"/>
          </p:nvPr>
        </p:nvSpPr>
        <p:spPr>
          <a:xfrm>
            <a:off x="540000" y="5220000"/>
            <a:ext cx="5292000" cy="900000"/>
          </a:xfrm>
          <a:prstGeom prst="rect">
            <a:avLst/>
          </a:prstGeom>
          <a:noFill/>
        </p:spPr>
        <p:txBody>
          <a:bodyPr vert="horz" lIns="0" tIns="0" rIns="108000" bIns="0" rtlCol="0">
            <a:noAutofit/>
          </a:bodyPr>
          <a:lstStyle>
            <a:lvl4pPr>
              <a:defRPr lang="en-US" dirty="0">
                <a:latin typeface="Segoe UI" panose="020B0502040204020203" pitchFamily="34" charset="0"/>
                <a:cs typeface="Segoe UI" panose="020B0502040204020203" pitchFamily="34" charset="0"/>
              </a:defRPr>
            </a:lvl4pPr>
          </a:lstStyle>
          <a:p>
            <a:pPr lvl="0"/>
            <a:r>
              <a:rPr lang="de-DE"/>
              <a:t>Mastertextformat bearbeiten</a:t>
            </a:r>
          </a:p>
        </p:txBody>
      </p:sp>
      <p:sp>
        <p:nvSpPr>
          <p:cNvPr id="3" name="subhead">
            <a:extLst>
              <a:ext uri="{FF2B5EF4-FFF2-40B4-BE49-F238E27FC236}">
                <a16:creationId xmlns:a16="http://schemas.microsoft.com/office/drawing/2014/main" id="{3BC3BCD8-A855-5678-25AE-D2E54EED1B0A}"/>
              </a:ext>
            </a:extLst>
          </p:cNvPr>
          <p:cNvSpPr>
            <a:spLocks noGrp="1"/>
          </p:cNvSpPr>
          <p:nvPr>
            <p:ph type="subTitle" idx="1"/>
          </p:nvPr>
        </p:nvSpPr>
        <p:spPr>
          <a:xfrm>
            <a:off x="540000" y="3960000"/>
            <a:ext cx="5292000" cy="864000"/>
          </a:xfrm>
        </p:spPr>
        <p:txBody>
          <a:bodyPr/>
          <a:lstStyle>
            <a:lvl1pPr marL="0" indent="0" algn="l">
              <a:lnSpc>
                <a:spcPct val="100000"/>
              </a:lnSpc>
              <a:buNone/>
              <a:defRPr sz="2000" baseline="0">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le">
            <a:extLst>
              <a:ext uri="{FF2B5EF4-FFF2-40B4-BE49-F238E27FC236}">
                <a16:creationId xmlns:a16="http://schemas.microsoft.com/office/drawing/2014/main" id="{ADD89440-F2F5-D4C4-310C-AC38DD644491}"/>
              </a:ext>
            </a:extLst>
          </p:cNvPr>
          <p:cNvSpPr>
            <a:spLocks noGrp="1"/>
          </p:cNvSpPr>
          <p:nvPr>
            <p:ph type="ctrTitle"/>
          </p:nvPr>
        </p:nvSpPr>
        <p:spPr>
          <a:xfrm>
            <a:off x="540000" y="1800000"/>
            <a:ext cx="5292000" cy="1980000"/>
          </a:xfrm>
        </p:spPr>
        <p:txBody>
          <a:bodyPr vert="horz" anchor="b"/>
          <a:lstStyle>
            <a:lvl1pPr algn="l">
              <a:lnSpc>
                <a:spcPts val="4000"/>
              </a:lnSpc>
              <a:defRPr sz="3600">
                <a:solidFill>
                  <a:schemeClr val="tx1"/>
                </a:solidFill>
              </a:defRPr>
            </a:lvl1pPr>
          </a:lstStyle>
          <a:p>
            <a:r>
              <a:rPr lang="de-DE"/>
              <a:t>Mastertitelformat bearbeiten</a:t>
            </a:r>
            <a:endParaRPr lang="en-US" dirty="0"/>
          </a:p>
        </p:txBody>
      </p:sp>
      <p:pic>
        <p:nvPicPr>
          <p:cNvPr id="5" name="valantic logo">
            <a:extLst>
              <a:ext uri="{FF2B5EF4-FFF2-40B4-BE49-F238E27FC236}">
                <a16:creationId xmlns:a16="http://schemas.microsoft.com/office/drawing/2014/main" id="{E8200BE0-EDC6-CB39-DA8C-60765B9CA79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a:stretch/>
        </p:blipFill>
        <p:spPr>
          <a:xfrm>
            <a:off x="225526" y="123982"/>
            <a:ext cx="2802006" cy="1080000"/>
          </a:xfrm>
          <a:prstGeom prst="rect">
            <a:avLst/>
          </a:prstGeom>
        </p:spPr>
      </p:pic>
    </p:spTree>
    <p:extLst>
      <p:ext uri="{BB962C8B-B14F-4D97-AF65-F5344CB8AC3E}">
        <p14:creationId xmlns:p14="http://schemas.microsoft.com/office/powerpoint/2010/main" val="34291976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  044 : dividerpage">
    <p:spTree>
      <p:nvGrpSpPr>
        <p:cNvPr id="1" name=""/>
        <p:cNvGrpSpPr/>
        <p:nvPr/>
      </p:nvGrpSpPr>
      <p:grpSpPr>
        <a:xfrm>
          <a:off x="0" y="0"/>
          <a:ext cx="0" cy="0"/>
          <a:chOff x="0" y="0"/>
          <a:chExt cx="0" cy="0"/>
        </a:xfrm>
      </p:grpSpPr>
      <p:sp>
        <p:nvSpPr>
          <p:cNvPr id="2" name="shape">
            <a:extLst>
              <a:ext uri="{FF2B5EF4-FFF2-40B4-BE49-F238E27FC236}">
                <a16:creationId xmlns:a16="http://schemas.microsoft.com/office/drawing/2014/main" id="{91DFF449-D72F-DDBE-0BB0-4D8362D0D732}"/>
              </a:ext>
            </a:extLst>
          </p:cNvPr>
          <p:cNvSpPr/>
          <p:nvPr/>
        </p:nvSpPr>
        <p:spPr>
          <a:xfrm>
            <a:off x="8023859" y="0"/>
            <a:ext cx="4168140" cy="6858000"/>
          </a:xfrm>
          <a:custGeom>
            <a:avLst/>
            <a:gdLst>
              <a:gd name="connsiteX0" fmla="*/ 2955290 w 4168140"/>
              <a:gd name="connsiteY0" fmla="*/ 6858000 h 6858000"/>
              <a:gd name="connsiteX1" fmla="*/ 1841500 w 4168140"/>
              <a:gd name="connsiteY1" fmla="*/ 3779520 h 6858000"/>
              <a:gd name="connsiteX2" fmla="*/ 1841500 w 4168140"/>
              <a:gd name="connsiteY2" fmla="*/ 3779520 h 6858000"/>
              <a:gd name="connsiteX3" fmla="*/ 990600 w 4168140"/>
              <a:gd name="connsiteY3" fmla="*/ 1487170 h 6858000"/>
              <a:gd name="connsiteX4" fmla="*/ 0 w 4168140"/>
              <a:gd name="connsiteY4" fmla="*/ 0 h 6858000"/>
              <a:gd name="connsiteX5" fmla="*/ 4168140 w 4168140"/>
              <a:gd name="connsiteY5" fmla="*/ 0 h 6858000"/>
              <a:gd name="connsiteX6" fmla="*/ 4168140 w 4168140"/>
              <a:gd name="connsiteY6" fmla="*/ 6858000 h 6858000"/>
              <a:gd name="connsiteX7" fmla="*/ 2955290 w 416814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8140" h="6858000">
                <a:moveTo>
                  <a:pt x="2955290" y="6858000"/>
                </a:moveTo>
                <a:cubicBezTo>
                  <a:pt x="2167890" y="6076950"/>
                  <a:pt x="1727200" y="4963160"/>
                  <a:pt x="1841500" y="3779520"/>
                </a:cubicBezTo>
                <a:lnTo>
                  <a:pt x="1841500" y="3779520"/>
                </a:lnTo>
                <a:cubicBezTo>
                  <a:pt x="1991360" y="2218690"/>
                  <a:pt x="1736090" y="1946910"/>
                  <a:pt x="990600" y="1487170"/>
                </a:cubicBezTo>
                <a:cubicBezTo>
                  <a:pt x="464820" y="1163320"/>
                  <a:pt x="96520" y="619760"/>
                  <a:pt x="0" y="0"/>
                </a:cubicBezTo>
                <a:lnTo>
                  <a:pt x="4168140" y="0"/>
                </a:lnTo>
                <a:lnTo>
                  <a:pt x="4168140" y="6858000"/>
                </a:lnTo>
                <a:lnTo>
                  <a:pt x="2955290"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1" name="slide number">
            <a:extLst>
              <a:ext uri="{FF2B5EF4-FFF2-40B4-BE49-F238E27FC236}">
                <a16:creationId xmlns:a16="http://schemas.microsoft.com/office/drawing/2014/main" id="{59E683A2-BFBA-78E2-EFF4-F23E8ACFE3C5}"/>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174BBD4C-7E24-6348-4F34-59081BDF912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B52345E1-CD1E-D49E-138C-5E5472A9689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48" name="subhead">
            <a:extLst>
              <a:ext uri="{FF2B5EF4-FFF2-40B4-BE49-F238E27FC236}">
                <a16:creationId xmlns:a16="http://schemas.microsoft.com/office/drawing/2014/main" id="{0077CA06-319C-1757-577C-479DBCF8CC1A}"/>
              </a:ext>
            </a:extLst>
          </p:cNvPr>
          <p:cNvSpPr>
            <a:spLocks noGrp="1"/>
          </p:cNvSpPr>
          <p:nvPr>
            <p:ph type="body" idx="1"/>
          </p:nvPr>
        </p:nvSpPr>
        <p:spPr>
          <a:xfrm>
            <a:off x="540000" y="3960000"/>
            <a:ext cx="8280000" cy="2025850"/>
          </a:xfrm>
          <a:noFill/>
        </p:spPr>
        <p:txBody>
          <a:bodyPr vert="horz" lIns="0" tIns="0" rIns="0" bIns="0" rtlCol="0">
            <a:noAutofit/>
          </a:bodyPr>
          <a:lstStyle>
            <a:lvl1pPr>
              <a:lnSpc>
                <a:spcPct val="100000"/>
              </a:lnSpc>
              <a:defRPr lang="en-US" sz="2000" i="0" dirty="0" smtClean="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3" name="divider title">
            <a:extLst>
              <a:ext uri="{FF2B5EF4-FFF2-40B4-BE49-F238E27FC236}">
                <a16:creationId xmlns:a16="http://schemas.microsoft.com/office/drawing/2014/main" id="{776D3A14-B2FD-F1C5-2103-0893E5BCE8DF}"/>
              </a:ext>
            </a:extLst>
          </p:cNvPr>
          <p:cNvSpPr>
            <a:spLocks noGrp="1"/>
          </p:cNvSpPr>
          <p:nvPr>
            <p:ph type="body" idx="13"/>
          </p:nvPr>
        </p:nvSpPr>
        <p:spPr>
          <a:xfrm>
            <a:off x="539999" y="1476000"/>
            <a:ext cx="8279999" cy="2304000"/>
          </a:xfrm>
        </p:spPr>
        <p:txBody>
          <a:bodyPr anchor="b"/>
          <a:lstStyle>
            <a:lvl1pPr marL="0" indent="0">
              <a:lnSpc>
                <a:spcPts val="4000"/>
              </a:lnSpc>
              <a:spcBef>
                <a:spcPts val="0"/>
              </a:spcBef>
              <a:spcAft>
                <a:spcPts val="0"/>
              </a:spcAft>
              <a:buNone/>
              <a:defRPr lang="en-US" sz="3600" b="0" kern="1200" spc="0" baseline="0" smtClean="0">
                <a:solidFill>
                  <a:schemeClr val="tx1"/>
                </a:soli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Tree>
    <p:extLst>
      <p:ext uri="{BB962C8B-B14F-4D97-AF65-F5344CB8AC3E}">
        <p14:creationId xmlns:p14="http://schemas.microsoft.com/office/powerpoint/2010/main" val="282317419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  004 : 4 contents">
    <p:spTree>
      <p:nvGrpSpPr>
        <p:cNvPr id="1" name=""/>
        <p:cNvGrpSpPr/>
        <p:nvPr/>
      </p:nvGrpSpPr>
      <p:grpSpPr>
        <a:xfrm>
          <a:off x="0" y="0"/>
          <a:ext cx="0" cy="0"/>
          <a:chOff x="0" y="0"/>
          <a:chExt cx="0" cy="0"/>
        </a:xfrm>
      </p:grpSpPr>
      <p:sp>
        <p:nvSpPr>
          <p:cNvPr id="12" name="slide number">
            <a:extLst>
              <a:ext uri="{FF2B5EF4-FFF2-40B4-BE49-F238E27FC236}">
                <a16:creationId xmlns:a16="http://schemas.microsoft.com/office/drawing/2014/main" id="{7587F319-9817-5E8C-3267-E8B5F5655F9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3" name="footer">
            <a:extLst>
              <a:ext uri="{FF2B5EF4-FFF2-40B4-BE49-F238E27FC236}">
                <a16:creationId xmlns:a16="http://schemas.microsoft.com/office/drawing/2014/main" id="{F5CDEDD9-5767-BF78-73FE-C497E457838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4" name="date">
            <a:extLst>
              <a:ext uri="{FF2B5EF4-FFF2-40B4-BE49-F238E27FC236}">
                <a16:creationId xmlns:a16="http://schemas.microsoft.com/office/drawing/2014/main" id="{184078D7-3AA4-7E7A-E9A2-747978251287}"/>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6" name="content 4">
            <a:extLst>
              <a:ext uri="{FF2B5EF4-FFF2-40B4-BE49-F238E27FC236}">
                <a16:creationId xmlns:a16="http://schemas.microsoft.com/office/drawing/2014/main" id="{B5886103-0D8E-5D01-3B87-1FDDA2E05BE4}"/>
              </a:ext>
            </a:extLst>
          </p:cNvPr>
          <p:cNvSpPr>
            <a:spLocks noGrp="1"/>
          </p:cNvSpPr>
          <p:nvPr>
            <p:ph sz="quarter" idx="25"/>
          </p:nvPr>
        </p:nvSpPr>
        <p:spPr>
          <a:xfrm>
            <a:off x="9046863" y="1476000"/>
            <a:ext cx="2592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6211242" y="1476000"/>
            <a:ext cx="2592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3375621" y="1476000"/>
            <a:ext cx="2592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76000"/>
            <a:ext cx="2592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5" name="navigation">
            <a:extLst>
              <a:ext uri="{FF2B5EF4-FFF2-40B4-BE49-F238E27FC236}">
                <a16:creationId xmlns:a16="http://schemas.microsoft.com/office/drawing/2014/main" id="{E2DB2781-02B7-8F48-880C-0864DAF6A9C6}"/>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5271951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  045 : dividerpage picture">
    <p:spTree>
      <p:nvGrpSpPr>
        <p:cNvPr id="1" name=""/>
        <p:cNvGrpSpPr/>
        <p:nvPr/>
      </p:nvGrpSpPr>
      <p:grpSpPr>
        <a:xfrm>
          <a:off x="0" y="0"/>
          <a:ext cx="0" cy="0"/>
          <a:chOff x="0" y="0"/>
          <a:chExt cx="0" cy="0"/>
        </a:xfrm>
      </p:grpSpPr>
      <p:sp>
        <p:nvSpPr>
          <p:cNvPr id="2" name="shape">
            <a:extLst>
              <a:ext uri="{FF2B5EF4-FFF2-40B4-BE49-F238E27FC236}">
                <a16:creationId xmlns:a16="http://schemas.microsoft.com/office/drawing/2014/main" id="{4F872331-0C1C-6CEC-F8B3-B6873CFEB938}"/>
              </a:ext>
            </a:extLst>
          </p:cNvPr>
          <p:cNvSpPr/>
          <p:nvPr/>
        </p:nvSpPr>
        <p:spPr>
          <a:xfrm>
            <a:off x="8023859" y="0"/>
            <a:ext cx="4168140" cy="6858000"/>
          </a:xfrm>
          <a:custGeom>
            <a:avLst/>
            <a:gdLst>
              <a:gd name="connsiteX0" fmla="*/ 2955290 w 4168140"/>
              <a:gd name="connsiteY0" fmla="*/ 6858000 h 6858000"/>
              <a:gd name="connsiteX1" fmla="*/ 1841500 w 4168140"/>
              <a:gd name="connsiteY1" fmla="*/ 3779520 h 6858000"/>
              <a:gd name="connsiteX2" fmla="*/ 1841500 w 4168140"/>
              <a:gd name="connsiteY2" fmla="*/ 3779520 h 6858000"/>
              <a:gd name="connsiteX3" fmla="*/ 990600 w 4168140"/>
              <a:gd name="connsiteY3" fmla="*/ 1487170 h 6858000"/>
              <a:gd name="connsiteX4" fmla="*/ 0 w 4168140"/>
              <a:gd name="connsiteY4" fmla="*/ 0 h 6858000"/>
              <a:gd name="connsiteX5" fmla="*/ 4168140 w 4168140"/>
              <a:gd name="connsiteY5" fmla="*/ 0 h 6858000"/>
              <a:gd name="connsiteX6" fmla="*/ 4168140 w 4168140"/>
              <a:gd name="connsiteY6" fmla="*/ 6858000 h 6858000"/>
              <a:gd name="connsiteX7" fmla="*/ 2955290 w 416814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8140" h="6858000">
                <a:moveTo>
                  <a:pt x="2955290" y="6858000"/>
                </a:moveTo>
                <a:cubicBezTo>
                  <a:pt x="2167890" y="6076950"/>
                  <a:pt x="1727200" y="4963160"/>
                  <a:pt x="1841500" y="3779520"/>
                </a:cubicBezTo>
                <a:lnTo>
                  <a:pt x="1841500" y="3779520"/>
                </a:lnTo>
                <a:cubicBezTo>
                  <a:pt x="1991360" y="2218690"/>
                  <a:pt x="1736090" y="1946910"/>
                  <a:pt x="990600" y="1487170"/>
                </a:cubicBezTo>
                <a:cubicBezTo>
                  <a:pt x="464820" y="1163320"/>
                  <a:pt x="96520" y="619760"/>
                  <a:pt x="0" y="0"/>
                </a:cubicBezTo>
                <a:lnTo>
                  <a:pt x="4168140" y="0"/>
                </a:lnTo>
                <a:lnTo>
                  <a:pt x="4168140" y="6858000"/>
                </a:lnTo>
                <a:lnTo>
                  <a:pt x="2955290"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3" name="picture freeform">
            <a:extLst>
              <a:ext uri="{FF2B5EF4-FFF2-40B4-BE49-F238E27FC236}">
                <a16:creationId xmlns:a16="http://schemas.microsoft.com/office/drawing/2014/main" id="{1434E581-EF0A-42F8-0436-AF47C2A21183}"/>
              </a:ext>
            </a:extLst>
          </p:cNvPr>
          <p:cNvSpPr>
            <a:spLocks noGrp="1" noChangeAspect="1"/>
          </p:cNvSpPr>
          <p:nvPr>
            <p:ph type="pic" sz="quarter" idx="16"/>
          </p:nvPr>
        </p:nvSpPr>
        <p:spPr>
          <a:xfrm>
            <a:off x="6984000" y="1188000"/>
            <a:ext cx="5208000" cy="5670000"/>
          </a:xfrm>
          <a:custGeom>
            <a:avLst/>
            <a:gdLst>
              <a:gd name="connsiteX0" fmla="*/ 3204000 w 5208000"/>
              <a:gd name="connsiteY0" fmla="*/ 0 h 5670000"/>
              <a:gd name="connsiteX1" fmla="*/ 4995387 w 5208000"/>
              <a:gd name="connsiteY1" fmla="*/ 547193 h 5670000"/>
              <a:gd name="connsiteX2" fmla="*/ 5208000 w 5208000"/>
              <a:gd name="connsiteY2" fmla="*/ 706182 h 5670000"/>
              <a:gd name="connsiteX3" fmla="*/ 5208000 w 5208000"/>
              <a:gd name="connsiteY3" fmla="*/ 5670000 h 5670000"/>
              <a:gd name="connsiteX4" fmla="*/ 1158959 w 5208000"/>
              <a:gd name="connsiteY4" fmla="*/ 5670000 h 5670000"/>
              <a:gd name="connsiteX5" fmla="*/ 938430 w 5208000"/>
              <a:gd name="connsiteY5" fmla="*/ 5469570 h 5670000"/>
              <a:gd name="connsiteX6" fmla="*/ 0 w 5208000"/>
              <a:gd name="connsiteY6" fmla="*/ 3204000 h 5670000"/>
              <a:gd name="connsiteX7" fmla="*/ 3204000 w 5208000"/>
              <a:gd name="connsiteY7" fmla="*/ 0 h 56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8000" h="5670000">
                <a:moveTo>
                  <a:pt x="3204000" y="0"/>
                </a:moveTo>
                <a:cubicBezTo>
                  <a:pt x="3867570" y="0"/>
                  <a:pt x="4484025" y="201724"/>
                  <a:pt x="4995387" y="547193"/>
                </a:cubicBezTo>
                <a:lnTo>
                  <a:pt x="5208000" y="706182"/>
                </a:lnTo>
                <a:lnTo>
                  <a:pt x="5208000" y="5670000"/>
                </a:lnTo>
                <a:lnTo>
                  <a:pt x="1158959" y="5670000"/>
                </a:lnTo>
                <a:lnTo>
                  <a:pt x="938430" y="5469570"/>
                </a:lnTo>
                <a:cubicBezTo>
                  <a:pt x="358620" y="4889760"/>
                  <a:pt x="0" y="4088760"/>
                  <a:pt x="0" y="3204000"/>
                </a:cubicBezTo>
                <a:cubicBezTo>
                  <a:pt x="0" y="1434480"/>
                  <a:pt x="1434480" y="0"/>
                  <a:pt x="3204000" y="0"/>
                </a:cubicBezTo>
                <a:close/>
              </a:path>
            </a:pathLst>
          </a:custGeom>
          <a:noFill/>
        </p:spPr>
        <p:txBody>
          <a:bodyPr wrap="square" anchor="ctr">
            <a:noAutofit/>
          </a:bodyPr>
          <a:lstStyle>
            <a:lvl1pPr algn="ctr">
              <a:defRPr/>
            </a:lvl1pPr>
          </a:lstStyle>
          <a:p>
            <a:r>
              <a:rPr lang="de-DE"/>
              <a:t>Bild durch Klicken auf Symbol hinzufügen</a:t>
            </a:r>
            <a:endParaRPr lang="de-DE" dirty="0"/>
          </a:p>
        </p:txBody>
      </p:sp>
      <p:sp>
        <p:nvSpPr>
          <p:cNvPr id="12" name="slide number">
            <a:extLst>
              <a:ext uri="{FF2B5EF4-FFF2-40B4-BE49-F238E27FC236}">
                <a16:creationId xmlns:a16="http://schemas.microsoft.com/office/drawing/2014/main" id="{11204BDC-B53F-866C-E006-7747A3EAC75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3" name="footer">
            <a:extLst>
              <a:ext uri="{FF2B5EF4-FFF2-40B4-BE49-F238E27FC236}">
                <a16:creationId xmlns:a16="http://schemas.microsoft.com/office/drawing/2014/main" id="{07BA8968-D70C-9A3A-45ED-C7A9292CB84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4" name="date">
            <a:extLst>
              <a:ext uri="{FF2B5EF4-FFF2-40B4-BE49-F238E27FC236}">
                <a16:creationId xmlns:a16="http://schemas.microsoft.com/office/drawing/2014/main" id="{DD043EB8-D7A3-B72D-10FA-90C0F1116F9C}"/>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48" name="subhead">
            <a:extLst>
              <a:ext uri="{FF2B5EF4-FFF2-40B4-BE49-F238E27FC236}">
                <a16:creationId xmlns:a16="http://schemas.microsoft.com/office/drawing/2014/main" id="{0077CA06-319C-1757-577C-479DBCF8CC1A}"/>
              </a:ext>
            </a:extLst>
          </p:cNvPr>
          <p:cNvSpPr>
            <a:spLocks noGrp="1"/>
          </p:cNvSpPr>
          <p:nvPr>
            <p:ph type="body" idx="1"/>
          </p:nvPr>
        </p:nvSpPr>
        <p:spPr>
          <a:xfrm>
            <a:off x="540000" y="3960000"/>
            <a:ext cx="6120000" cy="2025850"/>
          </a:xfrm>
          <a:noFill/>
        </p:spPr>
        <p:txBody>
          <a:bodyPr vert="horz" lIns="0" tIns="0" rIns="0" bIns="0" rtlCol="0">
            <a:noAutofit/>
          </a:bodyPr>
          <a:lstStyle>
            <a:lvl1pPr>
              <a:lnSpc>
                <a:spcPct val="100000"/>
              </a:lnSpc>
              <a:defRPr lang="en-US" sz="2000" i="0" dirty="0" smtClean="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7" name="divider title">
            <a:extLst>
              <a:ext uri="{FF2B5EF4-FFF2-40B4-BE49-F238E27FC236}">
                <a16:creationId xmlns:a16="http://schemas.microsoft.com/office/drawing/2014/main" id="{7027E245-FD12-05E9-6D4F-9152F88853BA}"/>
              </a:ext>
            </a:extLst>
          </p:cNvPr>
          <p:cNvSpPr>
            <a:spLocks noGrp="1"/>
          </p:cNvSpPr>
          <p:nvPr>
            <p:ph type="body" idx="13"/>
          </p:nvPr>
        </p:nvSpPr>
        <p:spPr>
          <a:xfrm>
            <a:off x="539999" y="1476000"/>
            <a:ext cx="6120000" cy="2304000"/>
          </a:xfrm>
        </p:spPr>
        <p:txBody>
          <a:bodyPr anchor="b"/>
          <a:lstStyle>
            <a:lvl1pPr marL="0" indent="0">
              <a:lnSpc>
                <a:spcPts val="4000"/>
              </a:lnSpc>
              <a:spcBef>
                <a:spcPts val="0"/>
              </a:spcBef>
              <a:spcAft>
                <a:spcPts val="0"/>
              </a:spcAft>
              <a:buNone/>
              <a:defRPr lang="en-US" sz="3600" b="0" kern="1200" spc="0" baseline="0" smtClean="0">
                <a:solidFill>
                  <a:schemeClr val="tx1"/>
                </a:soli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Tree>
    <p:extLst>
      <p:ext uri="{BB962C8B-B14F-4D97-AF65-F5344CB8AC3E}">
        <p14:creationId xmlns:p14="http://schemas.microsoft.com/office/powerpoint/2010/main" val="1220307216"/>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  046 : agenda">
    <p:spTree>
      <p:nvGrpSpPr>
        <p:cNvPr id="1" name=""/>
        <p:cNvGrpSpPr/>
        <p:nvPr/>
      </p:nvGrpSpPr>
      <p:grpSpPr>
        <a:xfrm>
          <a:off x="0" y="0"/>
          <a:ext cx="0" cy="0"/>
          <a:chOff x="0" y="0"/>
          <a:chExt cx="0" cy="0"/>
        </a:xfrm>
      </p:grpSpPr>
      <p:sp>
        <p:nvSpPr>
          <p:cNvPr id="3" name="shape">
            <a:extLst>
              <a:ext uri="{FF2B5EF4-FFF2-40B4-BE49-F238E27FC236}">
                <a16:creationId xmlns:a16="http://schemas.microsoft.com/office/drawing/2014/main" id="{49B57F66-1E25-BEF2-2840-BC348302B416}"/>
              </a:ext>
            </a:extLst>
          </p:cNvPr>
          <p:cNvSpPr/>
          <p:nvPr/>
        </p:nvSpPr>
        <p:spPr>
          <a:xfrm>
            <a:off x="8023859" y="0"/>
            <a:ext cx="4168140" cy="6858000"/>
          </a:xfrm>
          <a:custGeom>
            <a:avLst/>
            <a:gdLst>
              <a:gd name="connsiteX0" fmla="*/ 2955290 w 4168140"/>
              <a:gd name="connsiteY0" fmla="*/ 6858000 h 6858000"/>
              <a:gd name="connsiteX1" fmla="*/ 1841500 w 4168140"/>
              <a:gd name="connsiteY1" fmla="*/ 3779520 h 6858000"/>
              <a:gd name="connsiteX2" fmla="*/ 1841500 w 4168140"/>
              <a:gd name="connsiteY2" fmla="*/ 3779520 h 6858000"/>
              <a:gd name="connsiteX3" fmla="*/ 990600 w 4168140"/>
              <a:gd name="connsiteY3" fmla="*/ 1487170 h 6858000"/>
              <a:gd name="connsiteX4" fmla="*/ 0 w 4168140"/>
              <a:gd name="connsiteY4" fmla="*/ 0 h 6858000"/>
              <a:gd name="connsiteX5" fmla="*/ 4168140 w 4168140"/>
              <a:gd name="connsiteY5" fmla="*/ 0 h 6858000"/>
              <a:gd name="connsiteX6" fmla="*/ 4168140 w 4168140"/>
              <a:gd name="connsiteY6" fmla="*/ 6858000 h 6858000"/>
              <a:gd name="connsiteX7" fmla="*/ 2955290 w 416814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8140" h="6858000">
                <a:moveTo>
                  <a:pt x="2955290" y="6858000"/>
                </a:moveTo>
                <a:cubicBezTo>
                  <a:pt x="2167890" y="6076950"/>
                  <a:pt x="1727200" y="4963160"/>
                  <a:pt x="1841500" y="3779520"/>
                </a:cubicBezTo>
                <a:lnTo>
                  <a:pt x="1841500" y="3779520"/>
                </a:lnTo>
                <a:cubicBezTo>
                  <a:pt x="1991360" y="2218690"/>
                  <a:pt x="1736090" y="1946910"/>
                  <a:pt x="990600" y="1487170"/>
                </a:cubicBezTo>
                <a:cubicBezTo>
                  <a:pt x="464820" y="1163320"/>
                  <a:pt x="96520" y="619760"/>
                  <a:pt x="0" y="0"/>
                </a:cubicBezTo>
                <a:lnTo>
                  <a:pt x="4168140" y="0"/>
                </a:lnTo>
                <a:lnTo>
                  <a:pt x="4168140" y="6858000"/>
                </a:lnTo>
                <a:lnTo>
                  <a:pt x="2955290"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4" name="slide number">
            <a:extLst>
              <a:ext uri="{FF2B5EF4-FFF2-40B4-BE49-F238E27FC236}">
                <a16:creationId xmlns:a16="http://schemas.microsoft.com/office/drawing/2014/main" id="{133DE3DD-35F4-0544-EA20-8DFF7635420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5" name="footer">
            <a:extLst>
              <a:ext uri="{FF2B5EF4-FFF2-40B4-BE49-F238E27FC236}">
                <a16:creationId xmlns:a16="http://schemas.microsoft.com/office/drawing/2014/main" id="{26C97F54-C050-02E2-007C-884C1343F65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6" name="date">
            <a:extLst>
              <a:ext uri="{FF2B5EF4-FFF2-40B4-BE49-F238E27FC236}">
                <a16:creationId xmlns:a16="http://schemas.microsoft.com/office/drawing/2014/main" id="{BF5DF564-1583-214B-1FF2-64660F623A53}"/>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7" name="text">
            <a:extLst>
              <a:ext uri="{FF2B5EF4-FFF2-40B4-BE49-F238E27FC236}">
                <a16:creationId xmlns:a16="http://schemas.microsoft.com/office/drawing/2014/main" id="{97E6113D-8276-DBCB-BE23-99275743B1F6}"/>
              </a:ext>
            </a:extLst>
          </p:cNvPr>
          <p:cNvSpPr>
            <a:spLocks noGrp="1"/>
          </p:cNvSpPr>
          <p:nvPr>
            <p:ph type="body" sz="quarter" idx="14"/>
          </p:nvPr>
        </p:nvSpPr>
        <p:spPr>
          <a:xfrm>
            <a:off x="1979999" y="2545091"/>
            <a:ext cx="6840000" cy="3600000"/>
          </a:xfrm>
        </p:spPr>
        <p:txBody>
          <a:bodyPr/>
          <a:lstStyle>
            <a:lvl1pPr>
              <a:lnSpc>
                <a:spcPts val="1800"/>
              </a:lnSpc>
              <a:spcBef>
                <a:spcPts val="600"/>
              </a:spcBef>
              <a:spcAft>
                <a:spcPts val="600"/>
              </a:spcAft>
              <a:tabLst>
                <a:tab pos="355600" algn="l"/>
              </a:tabLst>
              <a:defRPr>
                <a:latin typeface="Segoe UI Light" panose="020B0502040204020203" pitchFamily="34" charset="0"/>
                <a:cs typeface="Segoe UI Light" panose="020B0502040204020203" pitchFamily="34" charset="0"/>
              </a:defRPr>
            </a:lvl1pPr>
            <a:lvl2pPr marL="0" indent="0">
              <a:lnSpc>
                <a:spcPts val="1800"/>
              </a:lnSpc>
              <a:spcBef>
                <a:spcPts val="600"/>
              </a:spcBef>
              <a:spcAft>
                <a:spcPts val="600"/>
              </a:spcAft>
              <a:buNone/>
              <a:tabLst>
                <a:tab pos="355600" algn="l"/>
              </a:tabLst>
              <a:defRPr spc="40" baseline="0">
                <a:latin typeface="Segoe UI Semibold" panose="020B0702040204020203" pitchFamily="34" charset="0"/>
                <a:cs typeface="Segoe UI Semibold" panose="020B0702040204020203" pitchFamily="34" charset="0"/>
              </a:defRPr>
            </a:lvl2pPr>
            <a:lvl3pPr marL="0" indent="0">
              <a:lnSpc>
                <a:spcPts val="1800"/>
              </a:lnSpc>
              <a:spcBef>
                <a:spcPts val="600"/>
              </a:spcBef>
              <a:spcAft>
                <a:spcPts val="600"/>
              </a:spcAft>
              <a:buNone/>
              <a:tabLst>
                <a:tab pos="355600" algn="l"/>
              </a:tabLst>
              <a:defRPr sz="1600">
                <a:solidFill>
                  <a:schemeClr val="accent1"/>
                </a:solidFill>
              </a:defRPr>
            </a:lvl3pPr>
            <a:lvl4pPr marL="0" indent="0">
              <a:lnSpc>
                <a:spcPts val="1800"/>
              </a:lnSpc>
              <a:spcBef>
                <a:spcPts val="600"/>
              </a:spcBef>
              <a:spcAft>
                <a:spcPts val="600"/>
              </a:spcAft>
              <a:buFontTx/>
              <a:buNone/>
              <a:tabLst>
                <a:tab pos="355600" algn="l"/>
              </a:tabLst>
              <a:defRPr cap="all" spc="100" baseline="0">
                <a:solidFill>
                  <a:schemeClr val="tx1"/>
                </a:solidFill>
                <a:latin typeface="Segoe UI Semibold" panose="020B0702040204020203" pitchFamily="34" charset="0"/>
                <a:cs typeface="Segoe UI Semibold" panose="020B0702040204020203" pitchFamily="34" charset="0"/>
              </a:defRPr>
            </a:lvl4pPr>
            <a:lvl5pPr>
              <a:lnSpc>
                <a:spcPts val="1800"/>
              </a:lnSpc>
              <a:spcBef>
                <a:spcPts val="600"/>
              </a:spcBef>
              <a:spcAft>
                <a:spcPts val="600"/>
              </a:spcAft>
              <a:tabLst>
                <a:tab pos="355600" algn="l"/>
              </a:tabLst>
              <a:defRPr>
                <a:solidFill>
                  <a:srgbClr val="FF4B4B"/>
                </a:solidFill>
              </a:defRPr>
            </a:lvl5pPr>
          </a:lstStyle>
          <a:p>
            <a:pPr lvl="0"/>
            <a:r>
              <a:rPr lang="de-DE"/>
              <a:t>Mastertextformat bearbeiten</a:t>
            </a:r>
          </a:p>
        </p:txBody>
      </p:sp>
      <p:sp>
        <p:nvSpPr>
          <p:cNvPr id="50" name="title">
            <a:extLst>
              <a:ext uri="{FF2B5EF4-FFF2-40B4-BE49-F238E27FC236}">
                <a16:creationId xmlns:a16="http://schemas.microsoft.com/office/drawing/2014/main" id="{8AB546F2-9484-3FC2-840F-D7D025E677F4}"/>
              </a:ext>
            </a:extLst>
          </p:cNvPr>
          <p:cNvSpPr>
            <a:spLocks noGrp="1"/>
          </p:cNvSpPr>
          <p:nvPr>
            <p:ph type="title"/>
          </p:nvPr>
        </p:nvSpPr>
        <p:spPr>
          <a:xfrm>
            <a:off x="1979999" y="1476000"/>
            <a:ext cx="6840000" cy="468000"/>
          </a:xfrm>
        </p:spPr>
        <p:txBody>
          <a:bodyPr vert="horz" lIns="0" tIns="0" rIns="0" bIns="0" rtlCol="0" anchor="b">
            <a:noAutofit/>
          </a:bodyPr>
          <a:lstStyle>
            <a:lvl1pPr>
              <a:defRPr lang="en-US" sz="3600" dirty="0">
                <a:solidFill>
                  <a:schemeClr val="tx1"/>
                </a:solidFill>
                <a:latin typeface="+mj-lt"/>
                <a:ea typeface="Calibri" panose="020F0502020204030204" pitchFamily="34" charset="0"/>
                <a:cs typeface="Segoe UI Semibold" panose="020B0502040204020203" pitchFamily="34" charset="0"/>
              </a:defRPr>
            </a:lvl1pPr>
          </a:lstStyle>
          <a:p>
            <a:pPr lvl="0">
              <a:lnSpc>
                <a:spcPts val="4000"/>
              </a:lnSpc>
            </a:pPr>
            <a:r>
              <a:rPr lang="de-DE"/>
              <a:t>Mastertitelformat bearbeiten</a:t>
            </a:r>
            <a:endParaRPr lang="en-US" dirty="0"/>
          </a:p>
        </p:txBody>
      </p:sp>
    </p:spTree>
    <p:extLst>
      <p:ext uri="{BB962C8B-B14F-4D97-AF65-F5344CB8AC3E}">
        <p14:creationId xmlns:p14="http://schemas.microsoft.com/office/powerpoint/2010/main" val="47656282"/>
      </p:ext>
    </p:extLst>
  </p:cSld>
  <p:clrMapOvr>
    <a:masterClrMapping/>
  </p:clrMapOvr>
  <p:extLst>
    <p:ext uri="{DCECCB84-F9BA-43D5-87BE-67443E8EF086}">
      <p15:sldGuideLst xmlns:p15="http://schemas.microsoft.com/office/powerpoint/2012/main">
        <p15:guide id="1" pos="123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  047 : agenda : picture placeholder">
    <p:spTree>
      <p:nvGrpSpPr>
        <p:cNvPr id="1" name=""/>
        <p:cNvGrpSpPr/>
        <p:nvPr/>
      </p:nvGrpSpPr>
      <p:grpSpPr>
        <a:xfrm>
          <a:off x="0" y="0"/>
          <a:ext cx="0" cy="0"/>
          <a:chOff x="0" y="0"/>
          <a:chExt cx="0" cy="0"/>
        </a:xfrm>
      </p:grpSpPr>
      <p:sp>
        <p:nvSpPr>
          <p:cNvPr id="4" name="shape">
            <a:extLst>
              <a:ext uri="{FF2B5EF4-FFF2-40B4-BE49-F238E27FC236}">
                <a16:creationId xmlns:a16="http://schemas.microsoft.com/office/drawing/2014/main" id="{6B444FF9-115C-9C62-5C32-301544072D6A}"/>
              </a:ext>
            </a:extLst>
          </p:cNvPr>
          <p:cNvSpPr/>
          <p:nvPr/>
        </p:nvSpPr>
        <p:spPr>
          <a:xfrm>
            <a:off x="8123268" y="0"/>
            <a:ext cx="4068731" cy="6858000"/>
          </a:xfrm>
          <a:custGeom>
            <a:avLst/>
            <a:gdLst>
              <a:gd name="connsiteX0" fmla="*/ 4068732 w 4068731"/>
              <a:gd name="connsiteY0" fmla="*/ 0 h 6858000"/>
              <a:gd name="connsiteX1" fmla="*/ 2749202 w 4068731"/>
              <a:gd name="connsiteY1" fmla="*/ 0 h 6858000"/>
              <a:gd name="connsiteX2" fmla="*/ 1453802 w 4068731"/>
              <a:gd name="connsiteY2" fmla="*/ 2786380 h 6858000"/>
              <a:gd name="connsiteX3" fmla="*/ 8542 w 4068731"/>
              <a:gd name="connsiteY3" fmla="*/ 4671060 h 6858000"/>
              <a:gd name="connsiteX4" fmla="*/ 1255682 w 4068731"/>
              <a:gd name="connsiteY4" fmla="*/ 6858000 h 6858000"/>
              <a:gd name="connsiteX5" fmla="*/ 4068732 w 4068731"/>
              <a:gd name="connsiteY5" fmla="*/ 6858000 h 6858000"/>
              <a:gd name="connsiteX6" fmla="*/ 4068732 w 406873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8731" h="6858000">
                <a:moveTo>
                  <a:pt x="4068732" y="0"/>
                </a:moveTo>
                <a:lnTo>
                  <a:pt x="2749202" y="0"/>
                </a:lnTo>
                <a:cubicBezTo>
                  <a:pt x="3295302" y="1083310"/>
                  <a:pt x="3080672" y="2165350"/>
                  <a:pt x="1453802" y="2786380"/>
                </a:cubicBezTo>
                <a:cubicBezTo>
                  <a:pt x="672752" y="3072130"/>
                  <a:pt x="86012" y="3787140"/>
                  <a:pt x="8542" y="4671060"/>
                </a:cubicBezTo>
                <a:cubicBezTo>
                  <a:pt x="-74008" y="5614670"/>
                  <a:pt x="449232" y="6471920"/>
                  <a:pt x="1255682" y="6858000"/>
                </a:cubicBezTo>
                <a:lnTo>
                  <a:pt x="4068732" y="6858000"/>
                </a:lnTo>
                <a:lnTo>
                  <a:pt x="4068732" y="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5" name="slide number">
            <a:extLst>
              <a:ext uri="{FF2B5EF4-FFF2-40B4-BE49-F238E27FC236}">
                <a16:creationId xmlns:a16="http://schemas.microsoft.com/office/drawing/2014/main" id="{39AAC393-1463-1EC1-A82F-F996DE84D3D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6" name="footer">
            <a:extLst>
              <a:ext uri="{FF2B5EF4-FFF2-40B4-BE49-F238E27FC236}">
                <a16:creationId xmlns:a16="http://schemas.microsoft.com/office/drawing/2014/main" id="{04FEFFCF-D04D-6B27-6B35-E98D792BAFA9}"/>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7" name="date">
            <a:extLst>
              <a:ext uri="{FF2B5EF4-FFF2-40B4-BE49-F238E27FC236}">
                <a16:creationId xmlns:a16="http://schemas.microsoft.com/office/drawing/2014/main" id="{02DD2C31-BDC2-85A3-B24D-5CBC4747A8FA}"/>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88" name="picture">
            <a:extLst>
              <a:ext uri="{FF2B5EF4-FFF2-40B4-BE49-F238E27FC236}">
                <a16:creationId xmlns:a16="http://schemas.microsoft.com/office/drawing/2014/main" id="{CCDA154D-FA0F-7258-D1D3-FF4ACED7D2CB}"/>
              </a:ext>
            </a:extLst>
          </p:cNvPr>
          <p:cNvSpPr>
            <a:spLocks noGrp="1" noChangeAspect="1"/>
          </p:cNvSpPr>
          <p:nvPr>
            <p:ph type="pic" sz="quarter" idx="16"/>
          </p:nvPr>
        </p:nvSpPr>
        <p:spPr>
          <a:xfrm>
            <a:off x="7331943" y="874713"/>
            <a:ext cx="3960000" cy="3960000"/>
          </a:xfrm>
          <a:prstGeom prst="flowChartConnector">
            <a:avLst/>
          </a:prstGeom>
          <a:noFill/>
        </p:spPr>
        <p:txBody>
          <a:bodyPr anchor="ctr"/>
          <a:lstStyle>
            <a:lvl1pPr algn="ctr">
              <a:defRPr/>
            </a:lvl1pPr>
          </a:lstStyle>
          <a:p>
            <a:r>
              <a:rPr lang="de-DE"/>
              <a:t>Bild durch Klicken auf Symbol hinzufügen</a:t>
            </a:r>
            <a:endParaRPr lang="de-DE" dirty="0"/>
          </a:p>
        </p:txBody>
      </p:sp>
      <p:sp>
        <p:nvSpPr>
          <p:cNvPr id="3" name="text">
            <a:extLst>
              <a:ext uri="{FF2B5EF4-FFF2-40B4-BE49-F238E27FC236}">
                <a16:creationId xmlns:a16="http://schemas.microsoft.com/office/drawing/2014/main" id="{1E2B67AC-FFA9-F8F8-FF22-3F6E55E16AD7}"/>
              </a:ext>
            </a:extLst>
          </p:cNvPr>
          <p:cNvSpPr>
            <a:spLocks noGrp="1"/>
          </p:cNvSpPr>
          <p:nvPr>
            <p:ph type="body" sz="quarter" idx="14"/>
          </p:nvPr>
        </p:nvSpPr>
        <p:spPr>
          <a:xfrm>
            <a:off x="1979999" y="2545091"/>
            <a:ext cx="5040000" cy="3600000"/>
          </a:xfrm>
        </p:spPr>
        <p:txBody>
          <a:bodyPr/>
          <a:lstStyle>
            <a:lvl1pPr>
              <a:lnSpc>
                <a:spcPts val="1800"/>
              </a:lnSpc>
              <a:spcBef>
                <a:spcPts val="600"/>
              </a:spcBef>
              <a:spcAft>
                <a:spcPts val="600"/>
              </a:spcAft>
              <a:tabLst>
                <a:tab pos="355600" algn="l"/>
              </a:tabLst>
              <a:defRPr>
                <a:latin typeface="Segoe UI Light" panose="020B0502040204020203" pitchFamily="34" charset="0"/>
                <a:cs typeface="Segoe UI Light" panose="020B0502040204020203" pitchFamily="34" charset="0"/>
              </a:defRPr>
            </a:lvl1pPr>
            <a:lvl2pPr marL="0" indent="0">
              <a:lnSpc>
                <a:spcPts val="1800"/>
              </a:lnSpc>
              <a:spcBef>
                <a:spcPts val="600"/>
              </a:spcBef>
              <a:spcAft>
                <a:spcPts val="600"/>
              </a:spcAft>
              <a:buNone/>
              <a:tabLst>
                <a:tab pos="355600" algn="l"/>
              </a:tabLst>
              <a:defRPr spc="40" baseline="0">
                <a:latin typeface="Segoe UI Semibold" panose="020B0702040204020203" pitchFamily="34" charset="0"/>
                <a:cs typeface="Segoe UI Semibold" panose="020B0702040204020203" pitchFamily="34" charset="0"/>
              </a:defRPr>
            </a:lvl2pPr>
            <a:lvl3pPr marL="0" indent="0">
              <a:lnSpc>
                <a:spcPts val="1800"/>
              </a:lnSpc>
              <a:spcBef>
                <a:spcPts val="600"/>
              </a:spcBef>
              <a:spcAft>
                <a:spcPts val="600"/>
              </a:spcAft>
              <a:buNone/>
              <a:tabLst>
                <a:tab pos="355600" algn="l"/>
              </a:tabLst>
              <a:defRPr sz="1600">
                <a:solidFill>
                  <a:schemeClr val="accent1"/>
                </a:solidFill>
              </a:defRPr>
            </a:lvl3pPr>
            <a:lvl4pPr marL="0" indent="0">
              <a:lnSpc>
                <a:spcPts val="1800"/>
              </a:lnSpc>
              <a:spcBef>
                <a:spcPts val="600"/>
              </a:spcBef>
              <a:spcAft>
                <a:spcPts val="600"/>
              </a:spcAft>
              <a:buFontTx/>
              <a:buNone/>
              <a:tabLst>
                <a:tab pos="355600" algn="l"/>
              </a:tabLst>
              <a:defRPr cap="all" spc="100" baseline="0">
                <a:solidFill>
                  <a:schemeClr val="tx1"/>
                </a:solidFill>
                <a:latin typeface="Segoe UI Semibold" panose="020B0702040204020203" pitchFamily="34" charset="0"/>
                <a:cs typeface="Segoe UI Semibold" panose="020B0702040204020203" pitchFamily="34" charset="0"/>
              </a:defRPr>
            </a:lvl4pPr>
            <a:lvl5pPr>
              <a:lnSpc>
                <a:spcPts val="1800"/>
              </a:lnSpc>
              <a:spcBef>
                <a:spcPts val="600"/>
              </a:spcBef>
              <a:spcAft>
                <a:spcPts val="600"/>
              </a:spcAft>
              <a:tabLst>
                <a:tab pos="355600" algn="l"/>
              </a:tabLst>
              <a:defRPr>
                <a:solidFill>
                  <a:srgbClr val="FF4B4B"/>
                </a:solidFill>
              </a:defRPr>
            </a:lvl5pPr>
          </a:lstStyle>
          <a:p>
            <a:pPr lvl="0"/>
            <a:r>
              <a:rPr lang="de-DE"/>
              <a:t>Mastertextformat bearbeiten</a:t>
            </a:r>
          </a:p>
        </p:txBody>
      </p:sp>
      <p:sp>
        <p:nvSpPr>
          <p:cNvPr id="2" name="title">
            <a:extLst>
              <a:ext uri="{FF2B5EF4-FFF2-40B4-BE49-F238E27FC236}">
                <a16:creationId xmlns:a16="http://schemas.microsoft.com/office/drawing/2014/main" id="{AC88E0FE-794B-A3A2-B2FE-AEC80F80F12B}"/>
              </a:ext>
            </a:extLst>
          </p:cNvPr>
          <p:cNvSpPr>
            <a:spLocks noGrp="1"/>
          </p:cNvSpPr>
          <p:nvPr>
            <p:ph type="title"/>
          </p:nvPr>
        </p:nvSpPr>
        <p:spPr>
          <a:xfrm>
            <a:off x="1979999" y="1476000"/>
            <a:ext cx="5040000" cy="468000"/>
          </a:xfrm>
        </p:spPr>
        <p:txBody>
          <a:bodyPr vert="horz" lIns="0" tIns="0" rIns="0" bIns="0" rtlCol="0" anchor="b">
            <a:noAutofit/>
          </a:bodyPr>
          <a:lstStyle>
            <a:lvl1pPr>
              <a:defRPr lang="en-US" sz="3600" dirty="0">
                <a:ea typeface="Calibri" panose="020F0502020204030204" pitchFamily="34" charset="0"/>
                <a:cs typeface="Segoe UI Semibold" panose="020B0502040204020203" pitchFamily="34" charset="0"/>
              </a:defRPr>
            </a:lvl1pPr>
          </a:lstStyle>
          <a:p>
            <a:pPr lvl="0">
              <a:lnSpc>
                <a:spcPts val="4000"/>
              </a:lnSpc>
            </a:pPr>
            <a:r>
              <a:rPr lang="de-DE"/>
              <a:t>Mastertitelformat bearbeiten</a:t>
            </a:r>
            <a:endParaRPr lang="en-US" dirty="0"/>
          </a:p>
        </p:txBody>
      </p:sp>
    </p:spTree>
    <p:extLst>
      <p:ext uri="{BB962C8B-B14F-4D97-AF65-F5344CB8AC3E}">
        <p14:creationId xmlns:p14="http://schemas.microsoft.com/office/powerpoint/2010/main" val="688601137"/>
      </p:ext>
    </p:extLst>
  </p:cSld>
  <p:clrMapOvr>
    <a:masterClrMapping/>
  </p:clrMapOvr>
  <p:extLst>
    <p:ext uri="{DCECCB84-F9BA-43D5-87BE-67443E8EF086}">
      <p15:sldGuideLst xmlns:p15="http://schemas.microsoft.com/office/powerpoint/2012/main">
        <p15:guide id="1" pos="123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  048 : endpage : contacts : picture">
    <p:spTree>
      <p:nvGrpSpPr>
        <p:cNvPr id="1" name=""/>
        <p:cNvGrpSpPr/>
        <p:nvPr/>
      </p:nvGrpSpPr>
      <p:grpSpPr>
        <a:xfrm>
          <a:off x="0" y="0"/>
          <a:ext cx="0" cy="0"/>
          <a:chOff x="0" y="0"/>
          <a:chExt cx="0" cy="0"/>
        </a:xfrm>
      </p:grpSpPr>
      <p:sp>
        <p:nvSpPr>
          <p:cNvPr id="7" name="shape">
            <a:extLst>
              <a:ext uri="{FF2B5EF4-FFF2-40B4-BE49-F238E27FC236}">
                <a16:creationId xmlns:a16="http://schemas.microsoft.com/office/drawing/2014/main" id="{DEB7BC1F-A79B-AA66-7970-3BCA12F439D4}"/>
              </a:ext>
            </a:extLst>
          </p:cNvPr>
          <p:cNvSpPr/>
          <p:nvPr/>
        </p:nvSpPr>
        <p:spPr>
          <a:xfrm>
            <a:off x="8023859" y="0"/>
            <a:ext cx="4168140" cy="6858000"/>
          </a:xfrm>
          <a:custGeom>
            <a:avLst/>
            <a:gdLst>
              <a:gd name="connsiteX0" fmla="*/ 2955290 w 4168140"/>
              <a:gd name="connsiteY0" fmla="*/ 6858000 h 6858000"/>
              <a:gd name="connsiteX1" fmla="*/ 1841500 w 4168140"/>
              <a:gd name="connsiteY1" fmla="*/ 3779520 h 6858000"/>
              <a:gd name="connsiteX2" fmla="*/ 1841500 w 4168140"/>
              <a:gd name="connsiteY2" fmla="*/ 3779520 h 6858000"/>
              <a:gd name="connsiteX3" fmla="*/ 990600 w 4168140"/>
              <a:gd name="connsiteY3" fmla="*/ 1487170 h 6858000"/>
              <a:gd name="connsiteX4" fmla="*/ 0 w 4168140"/>
              <a:gd name="connsiteY4" fmla="*/ 0 h 6858000"/>
              <a:gd name="connsiteX5" fmla="*/ 4168140 w 4168140"/>
              <a:gd name="connsiteY5" fmla="*/ 0 h 6858000"/>
              <a:gd name="connsiteX6" fmla="*/ 4168140 w 4168140"/>
              <a:gd name="connsiteY6" fmla="*/ 6858000 h 6858000"/>
              <a:gd name="connsiteX7" fmla="*/ 2955290 w 416814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8140" h="6858000">
                <a:moveTo>
                  <a:pt x="2955290" y="6858000"/>
                </a:moveTo>
                <a:cubicBezTo>
                  <a:pt x="2167890" y="6076950"/>
                  <a:pt x="1727200" y="4963160"/>
                  <a:pt x="1841500" y="3779520"/>
                </a:cubicBezTo>
                <a:lnTo>
                  <a:pt x="1841500" y="3779520"/>
                </a:lnTo>
                <a:cubicBezTo>
                  <a:pt x="1991360" y="2218690"/>
                  <a:pt x="1736090" y="1946910"/>
                  <a:pt x="990600" y="1487170"/>
                </a:cubicBezTo>
                <a:cubicBezTo>
                  <a:pt x="464820" y="1163320"/>
                  <a:pt x="96520" y="619760"/>
                  <a:pt x="0" y="0"/>
                </a:cubicBezTo>
                <a:lnTo>
                  <a:pt x="4168140" y="0"/>
                </a:lnTo>
                <a:lnTo>
                  <a:pt x="4168140" y="6858000"/>
                </a:lnTo>
                <a:lnTo>
                  <a:pt x="2955290"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2" name="picture">
            <a:extLst>
              <a:ext uri="{FF2B5EF4-FFF2-40B4-BE49-F238E27FC236}">
                <a16:creationId xmlns:a16="http://schemas.microsoft.com/office/drawing/2014/main" id="{06D95D9A-7ABF-0C99-E0D3-6102DCF5C767}"/>
              </a:ext>
            </a:extLst>
          </p:cNvPr>
          <p:cNvSpPr>
            <a:spLocks noGrp="1" noChangeAspect="1"/>
          </p:cNvSpPr>
          <p:nvPr>
            <p:ph type="pic" sz="quarter" idx="16"/>
          </p:nvPr>
        </p:nvSpPr>
        <p:spPr>
          <a:xfrm>
            <a:off x="6984000" y="1188000"/>
            <a:ext cx="5208000" cy="5670000"/>
          </a:xfrm>
          <a:custGeom>
            <a:avLst/>
            <a:gdLst>
              <a:gd name="connsiteX0" fmla="*/ 3204000 w 5208000"/>
              <a:gd name="connsiteY0" fmla="*/ 0 h 5670000"/>
              <a:gd name="connsiteX1" fmla="*/ 4995387 w 5208000"/>
              <a:gd name="connsiteY1" fmla="*/ 547193 h 5670000"/>
              <a:gd name="connsiteX2" fmla="*/ 5208000 w 5208000"/>
              <a:gd name="connsiteY2" fmla="*/ 706182 h 5670000"/>
              <a:gd name="connsiteX3" fmla="*/ 5208000 w 5208000"/>
              <a:gd name="connsiteY3" fmla="*/ 5670000 h 5670000"/>
              <a:gd name="connsiteX4" fmla="*/ 1158959 w 5208000"/>
              <a:gd name="connsiteY4" fmla="*/ 5670000 h 5670000"/>
              <a:gd name="connsiteX5" fmla="*/ 938430 w 5208000"/>
              <a:gd name="connsiteY5" fmla="*/ 5469570 h 5670000"/>
              <a:gd name="connsiteX6" fmla="*/ 0 w 5208000"/>
              <a:gd name="connsiteY6" fmla="*/ 3204000 h 5670000"/>
              <a:gd name="connsiteX7" fmla="*/ 3204000 w 5208000"/>
              <a:gd name="connsiteY7" fmla="*/ 0 h 56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8000" h="5670000">
                <a:moveTo>
                  <a:pt x="3204000" y="0"/>
                </a:moveTo>
                <a:cubicBezTo>
                  <a:pt x="3867570" y="0"/>
                  <a:pt x="4484025" y="201724"/>
                  <a:pt x="4995387" y="547193"/>
                </a:cubicBezTo>
                <a:lnTo>
                  <a:pt x="5208000" y="706182"/>
                </a:lnTo>
                <a:lnTo>
                  <a:pt x="5208000" y="5670000"/>
                </a:lnTo>
                <a:lnTo>
                  <a:pt x="1158959" y="5670000"/>
                </a:lnTo>
                <a:lnTo>
                  <a:pt x="938430" y="5469570"/>
                </a:lnTo>
                <a:cubicBezTo>
                  <a:pt x="358620" y="4889760"/>
                  <a:pt x="0" y="4088760"/>
                  <a:pt x="0" y="3204000"/>
                </a:cubicBezTo>
                <a:cubicBezTo>
                  <a:pt x="0" y="1434480"/>
                  <a:pt x="1434480" y="0"/>
                  <a:pt x="3204000" y="0"/>
                </a:cubicBezTo>
                <a:close/>
              </a:path>
            </a:pathLst>
          </a:custGeom>
          <a:noFill/>
        </p:spPr>
        <p:txBody>
          <a:bodyPr wrap="square" anchor="ctr">
            <a:noAutofit/>
          </a:bodyPr>
          <a:lstStyle>
            <a:lvl1pPr algn="ctr">
              <a:defRPr/>
            </a:lvl1pPr>
          </a:lstStyle>
          <a:p>
            <a:r>
              <a:rPr lang="de-DE"/>
              <a:t>Bild durch Klicken auf Symbol hinzufügen</a:t>
            </a:r>
            <a:endParaRPr lang="de-DE" dirty="0"/>
          </a:p>
        </p:txBody>
      </p:sp>
      <p:sp>
        <p:nvSpPr>
          <p:cNvPr id="17" name="slide number">
            <a:extLst>
              <a:ext uri="{FF2B5EF4-FFF2-40B4-BE49-F238E27FC236}">
                <a16:creationId xmlns:a16="http://schemas.microsoft.com/office/drawing/2014/main" id="{9A4CF64D-F9BF-7921-7E12-A28AA812D438}"/>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8" name="footer">
            <a:extLst>
              <a:ext uri="{FF2B5EF4-FFF2-40B4-BE49-F238E27FC236}">
                <a16:creationId xmlns:a16="http://schemas.microsoft.com/office/drawing/2014/main" id="{D54F34F2-1FD1-16F8-9498-18294A40DEB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9" name="date">
            <a:extLst>
              <a:ext uri="{FF2B5EF4-FFF2-40B4-BE49-F238E27FC236}">
                <a16:creationId xmlns:a16="http://schemas.microsoft.com/office/drawing/2014/main" id="{8D24AD69-2ABC-1FC7-650C-97853CAEC9C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3" name="content 3">
            <a:extLst>
              <a:ext uri="{FF2B5EF4-FFF2-40B4-BE49-F238E27FC236}">
                <a16:creationId xmlns:a16="http://schemas.microsoft.com/office/drawing/2014/main" id="{F67A6F1F-133D-4546-591C-CB2926538A9E}"/>
              </a:ext>
            </a:extLst>
          </p:cNvPr>
          <p:cNvSpPr>
            <a:spLocks noGrp="1"/>
          </p:cNvSpPr>
          <p:nvPr>
            <p:ph type="body" idx="15"/>
          </p:nvPr>
        </p:nvSpPr>
        <p:spPr>
          <a:xfrm>
            <a:off x="6919430"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14" name="content 2">
            <a:extLst>
              <a:ext uri="{FF2B5EF4-FFF2-40B4-BE49-F238E27FC236}">
                <a16:creationId xmlns:a16="http://schemas.microsoft.com/office/drawing/2014/main" id="{AB8E8C71-0420-F71A-7AA1-4542827B232B}"/>
              </a:ext>
            </a:extLst>
          </p:cNvPr>
          <p:cNvSpPr>
            <a:spLocks noGrp="1"/>
          </p:cNvSpPr>
          <p:nvPr>
            <p:ph type="body" idx="14"/>
          </p:nvPr>
        </p:nvSpPr>
        <p:spPr>
          <a:xfrm>
            <a:off x="3729715"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15" name="content 1">
            <a:extLst>
              <a:ext uri="{FF2B5EF4-FFF2-40B4-BE49-F238E27FC236}">
                <a16:creationId xmlns:a16="http://schemas.microsoft.com/office/drawing/2014/main" id="{40687540-1D0B-FE54-D00D-FEC7240B1C35}"/>
              </a:ext>
            </a:extLst>
          </p:cNvPr>
          <p:cNvSpPr>
            <a:spLocks noGrp="1"/>
          </p:cNvSpPr>
          <p:nvPr>
            <p:ph type="body" idx="1"/>
          </p:nvPr>
        </p:nvSpPr>
        <p:spPr>
          <a:xfrm>
            <a:off x="540000"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57" name="title">
            <a:extLst>
              <a:ext uri="{FF2B5EF4-FFF2-40B4-BE49-F238E27FC236}">
                <a16:creationId xmlns:a16="http://schemas.microsoft.com/office/drawing/2014/main" id="{2B2872E1-DDB4-35E2-92B5-17EB99D52185}"/>
              </a:ext>
            </a:extLst>
          </p:cNvPr>
          <p:cNvSpPr>
            <a:spLocks noGrp="1"/>
          </p:cNvSpPr>
          <p:nvPr>
            <p:ph type="body" idx="13"/>
          </p:nvPr>
        </p:nvSpPr>
        <p:spPr>
          <a:xfrm>
            <a:off x="540000" y="612000"/>
            <a:ext cx="9252000" cy="2520000"/>
          </a:xfrm>
        </p:spPr>
        <p:txBody>
          <a:bodyPr anchor="b"/>
          <a:lstStyle>
            <a:lvl1pPr marL="0" indent="0">
              <a:lnSpc>
                <a:spcPts val="6200"/>
              </a:lnSpc>
              <a:buNone/>
              <a:defRPr sz="6000" b="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Tree>
    <p:extLst>
      <p:ext uri="{BB962C8B-B14F-4D97-AF65-F5344CB8AC3E}">
        <p14:creationId xmlns:p14="http://schemas.microsoft.com/office/powerpoint/2010/main" val="1790168593"/>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   049 : introduction left : contacts">
    <p:spTree>
      <p:nvGrpSpPr>
        <p:cNvPr id="1" name=""/>
        <p:cNvGrpSpPr/>
        <p:nvPr/>
      </p:nvGrpSpPr>
      <p:grpSpPr>
        <a:xfrm>
          <a:off x="0" y="0"/>
          <a:ext cx="0" cy="0"/>
          <a:chOff x="0" y="0"/>
          <a:chExt cx="0" cy="0"/>
        </a:xfrm>
      </p:grpSpPr>
      <p:sp>
        <p:nvSpPr>
          <p:cNvPr id="50" name="shape">
            <a:extLst>
              <a:ext uri="{FF2B5EF4-FFF2-40B4-BE49-F238E27FC236}">
                <a16:creationId xmlns:a16="http://schemas.microsoft.com/office/drawing/2014/main" id="{71966820-2A78-4DF1-E48F-D4C4D5C735B8}"/>
              </a:ext>
            </a:extLst>
          </p:cNvPr>
          <p:cNvSpPr/>
          <p:nvPr/>
        </p:nvSpPr>
        <p:spPr>
          <a:xfrm>
            <a:off x="8123268" y="0"/>
            <a:ext cx="4068731" cy="6858000"/>
          </a:xfrm>
          <a:custGeom>
            <a:avLst/>
            <a:gdLst>
              <a:gd name="connsiteX0" fmla="*/ 4068732 w 4068731"/>
              <a:gd name="connsiteY0" fmla="*/ 0 h 6858000"/>
              <a:gd name="connsiteX1" fmla="*/ 2749202 w 4068731"/>
              <a:gd name="connsiteY1" fmla="*/ 0 h 6858000"/>
              <a:gd name="connsiteX2" fmla="*/ 1453802 w 4068731"/>
              <a:gd name="connsiteY2" fmla="*/ 2786380 h 6858000"/>
              <a:gd name="connsiteX3" fmla="*/ 8542 w 4068731"/>
              <a:gd name="connsiteY3" fmla="*/ 4671060 h 6858000"/>
              <a:gd name="connsiteX4" fmla="*/ 1255682 w 4068731"/>
              <a:gd name="connsiteY4" fmla="*/ 6858000 h 6858000"/>
              <a:gd name="connsiteX5" fmla="*/ 4068732 w 4068731"/>
              <a:gd name="connsiteY5" fmla="*/ 6858000 h 6858000"/>
              <a:gd name="connsiteX6" fmla="*/ 4068732 w 406873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8731" h="6858000">
                <a:moveTo>
                  <a:pt x="4068732" y="0"/>
                </a:moveTo>
                <a:lnTo>
                  <a:pt x="2749202" y="0"/>
                </a:lnTo>
                <a:cubicBezTo>
                  <a:pt x="3295302" y="1083310"/>
                  <a:pt x="3080672" y="2165350"/>
                  <a:pt x="1453802" y="2786380"/>
                </a:cubicBezTo>
                <a:cubicBezTo>
                  <a:pt x="672752" y="3072130"/>
                  <a:pt x="86012" y="3787140"/>
                  <a:pt x="8542" y="4671060"/>
                </a:cubicBezTo>
                <a:cubicBezTo>
                  <a:pt x="-74008" y="5614670"/>
                  <a:pt x="449232" y="6471920"/>
                  <a:pt x="1255682" y="6858000"/>
                </a:cubicBezTo>
                <a:lnTo>
                  <a:pt x="4068732" y="6858000"/>
                </a:lnTo>
                <a:lnTo>
                  <a:pt x="4068732" y="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6" name="slide number">
            <a:extLst>
              <a:ext uri="{FF2B5EF4-FFF2-40B4-BE49-F238E27FC236}">
                <a16:creationId xmlns:a16="http://schemas.microsoft.com/office/drawing/2014/main" id="{CFBACB6C-E538-315B-836C-5747BC433DD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7" name="footer">
            <a:extLst>
              <a:ext uri="{FF2B5EF4-FFF2-40B4-BE49-F238E27FC236}">
                <a16:creationId xmlns:a16="http://schemas.microsoft.com/office/drawing/2014/main" id="{CB867239-D2B4-D5DB-1E8A-708333F2D82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8" name="date">
            <a:extLst>
              <a:ext uri="{FF2B5EF4-FFF2-40B4-BE49-F238E27FC236}">
                <a16:creationId xmlns:a16="http://schemas.microsoft.com/office/drawing/2014/main" id="{A908DC11-E6F3-54CF-0E9D-2ADE4513C7F7}"/>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49" name="picture">
            <a:extLst>
              <a:ext uri="{FF2B5EF4-FFF2-40B4-BE49-F238E27FC236}">
                <a16:creationId xmlns:a16="http://schemas.microsoft.com/office/drawing/2014/main" id="{C1D90B68-BF6E-D09D-42E7-77765BFEC449}"/>
              </a:ext>
            </a:extLst>
          </p:cNvPr>
          <p:cNvSpPr>
            <a:spLocks noGrp="1" noChangeAspect="1"/>
          </p:cNvSpPr>
          <p:nvPr>
            <p:ph type="pic" sz="quarter" idx="16"/>
          </p:nvPr>
        </p:nvSpPr>
        <p:spPr>
          <a:xfrm>
            <a:off x="8401138" y="1317100"/>
            <a:ext cx="3240000" cy="3240000"/>
          </a:xfrm>
          <a:prstGeom prst="flowChartConnector">
            <a:avLst/>
          </a:prstGeom>
          <a:noFill/>
        </p:spPr>
        <p:txBody>
          <a:bodyPr anchor="ctr"/>
          <a:lstStyle>
            <a:lvl1pPr algn="ctr">
              <a:defRPr/>
            </a:lvl1pPr>
          </a:lstStyle>
          <a:p>
            <a:r>
              <a:rPr lang="de-DE"/>
              <a:t>Bild durch Klicken auf Symbol hinzufügen</a:t>
            </a:r>
            <a:endParaRPr lang="de-DE" dirty="0"/>
          </a:p>
        </p:txBody>
      </p:sp>
      <p:sp>
        <p:nvSpPr>
          <p:cNvPr id="9" name="content">
            <a:extLst>
              <a:ext uri="{FF2B5EF4-FFF2-40B4-BE49-F238E27FC236}">
                <a16:creationId xmlns:a16="http://schemas.microsoft.com/office/drawing/2014/main" id="{9BE9AB25-3402-897C-7102-5B25952D6A3F}"/>
              </a:ext>
            </a:extLst>
          </p:cNvPr>
          <p:cNvSpPr>
            <a:spLocks noGrp="1"/>
          </p:cNvSpPr>
          <p:nvPr>
            <p:ph type="body" idx="1"/>
          </p:nvPr>
        </p:nvSpPr>
        <p:spPr>
          <a:xfrm>
            <a:off x="2160000" y="2880000"/>
            <a:ext cx="6120000" cy="3285850"/>
          </a:xfrm>
          <a:noFill/>
        </p:spPr>
        <p:txBody>
          <a:bodyPr vert="horz" lIns="0" tIns="0" rIns="0" bIns="0" rtlCol="0">
            <a:noAutofit/>
          </a:bodyPr>
          <a:lstStyle>
            <a:lvl1pPr>
              <a:lnSpc>
                <a:spcPts val="1600"/>
              </a:lnSpc>
              <a:spcAft>
                <a:spcPts val="0"/>
              </a:spcAft>
              <a:defRPr lang="en-US" sz="1200" dirty="0"/>
            </a:lvl1pPr>
            <a:lvl2pPr>
              <a:lnSpc>
                <a:spcPts val="1600"/>
              </a:lnSpc>
              <a:spcAft>
                <a:spcPts val="0"/>
              </a:spcAft>
              <a:defRPr sz="1200"/>
            </a:lvl2pPr>
            <a:lvl3pPr>
              <a:lnSpc>
                <a:spcPts val="1600"/>
              </a:lnSpc>
              <a:spcAft>
                <a:spcPts val="0"/>
              </a:spcAft>
              <a:defRPr sz="1200"/>
            </a:lvl3pPr>
            <a:lvl4pPr>
              <a:lnSpc>
                <a:spcPts val="1600"/>
              </a:lnSpc>
              <a:spcAft>
                <a:spcPts val="0"/>
              </a:spcAft>
              <a:defRPr sz="1200"/>
            </a:lvl4pPr>
            <a:lvl5pPr>
              <a:spcBef>
                <a:spcPts val="300"/>
              </a:spcBef>
              <a:spcAft>
                <a:spcPts val="1800"/>
              </a:spcAft>
              <a:defRPr sz="1200"/>
            </a:lvl5pPr>
            <a:lvl6pPr>
              <a:defRPr sz="1200"/>
            </a:lvl6pPr>
            <a:lvl7pPr>
              <a:defRPr sz="1200"/>
            </a:lvl7pPr>
            <a:lvl8pPr>
              <a:defRPr sz="1200"/>
            </a:lvl8pPr>
            <a:lvl9pPr>
              <a:defRPr sz="1200"/>
            </a:lvl9pPr>
          </a:lstStyle>
          <a:p>
            <a:pPr lvl="0"/>
            <a:r>
              <a:rPr lang="de-DE"/>
              <a:t>Mastertextformat bearbeiten</a:t>
            </a:r>
          </a:p>
        </p:txBody>
      </p:sp>
      <p:sp>
        <p:nvSpPr>
          <p:cNvPr id="12" name="subhead">
            <a:extLst>
              <a:ext uri="{FF2B5EF4-FFF2-40B4-BE49-F238E27FC236}">
                <a16:creationId xmlns:a16="http://schemas.microsoft.com/office/drawing/2014/main" id="{2E068325-F576-E139-3996-A94AB4C7DB9F}"/>
              </a:ext>
            </a:extLst>
          </p:cNvPr>
          <p:cNvSpPr>
            <a:spLocks noGrp="1"/>
          </p:cNvSpPr>
          <p:nvPr>
            <p:ph type="body" idx="23"/>
          </p:nvPr>
        </p:nvSpPr>
        <p:spPr>
          <a:xfrm>
            <a:off x="2160000" y="1872000"/>
            <a:ext cx="6120000" cy="434612"/>
          </a:xfrm>
        </p:spPr>
        <p:txBody>
          <a:bodyPr lIns="0" rIns="0" anchor="t"/>
          <a:lstStyle>
            <a:lvl1pPr marL="0" indent="0">
              <a:lnSpc>
                <a:spcPts val="1800"/>
              </a:lnSpc>
              <a:spcBef>
                <a:spcPts val="0"/>
              </a:spcBef>
              <a:spcAft>
                <a:spcPts val="0"/>
              </a:spcAft>
              <a:buNone/>
              <a:tabLst/>
              <a:defRPr sz="14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title">
            <a:extLst>
              <a:ext uri="{FF2B5EF4-FFF2-40B4-BE49-F238E27FC236}">
                <a16:creationId xmlns:a16="http://schemas.microsoft.com/office/drawing/2014/main" id="{AE7120AA-6746-99EE-C354-C34DE95787A5}"/>
              </a:ext>
            </a:extLst>
          </p:cNvPr>
          <p:cNvSpPr>
            <a:spLocks noGrp="1"/>
          </p:cNvSpPr>
          <p:nvPr>
            <p:ph type="title"/>
          </p:nvPr>
        </p:nvSpPr>
        <p:spPr>
          <a:xfrm>
            <a:off x="2160000" y="972000"/>
            <a:ext cx="6120000" cy="863600"/>
          </a:xfrm>
        </p:spPr>
        <p:txBody>
          <a:bodyPr vert="horz" anchor="b" anchorCtr="0"/>
          <a:lstStyle/>
          <a:p>
            <a:r>
              <a:rPr lang="de-DE"/>
              <a:t>Mastertitelformat bearbeiten</a:t>
            </a:r>
            <a:endParaRPr lang="en-US"/>
          </a:p>
        </p:txBody>
      </p:sp>
    </p:spTree>
    <p:extLst>
      <p:ext uri="{BB962C8B-B14F-4D97-AF65-F5344CB8AC3E}">
        <p14:creationId xmlns:p14="http://schemas.microsoft.com/office/powerpoint/2010/main" val="1693524920"/>
      </p:ext>
    </p:extLst>
  </p:cSld>
  <p:clrMapOvr>
    <a:masterClrMapping/>
  </p:clrMapOvr>
  <p:extLst>
    <p:ext uri="{DCECCB84-F9BA-43D5-87BE-67443E8EF086}">
      <p15:sldGuideLst xmlns:p15="http://schemas.microsoft.com/office/powerpoint/2012/main">
        <p15:guide id="1" pos="1345">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   049 : introduction right : contacts">
    <p:spTree>
      <p:nvGrpSpPr>
        <p:cNvPr id="1" name=""/>
        <p:cNvGrpSpPr/>
        <p:nvPr/>
      </p:nvGrpSpPr>
      <p:grpSpPr>
        <a:xfrm>
          <a:off x="0" y="0"/>
          <a:ext cx="0" cy="0"/>
          <a:chOff x="0" y="0"/>
          <a:chExt cx="0" cy="0"/>
        </a:xfrm>
      </p:grpSpPr>
      <p:sp>
        <p:nvSpPr>
          <p:cNvPr id="24" name="shape">
            <a:extLst>
              <a:ext uri="{FF2B5EF4-FFF2-40B4-BE49-F238E27FC236}">
                <a16:creationId xmlns:a16="http://schemas.microsoft.com/office/drawing/2014/main" id="{56AB6B82-FECE-B640-9BED-9BCD53C3E892}"/>
              </a:ext>
            </a:extLst>
          </p:cNvPr>
          <p:cNvSpPr/>
          <p:nvPr/>
        </p:nvSpPr>
        <p:spPr>
          <a:xfrm flipH="1">
            <a:off x="-163456" y="0"/>
            <a:ext cx="4068731" cy="6858000"/>
          </a:xfrm>
          <a:custGeom>
            <a:avLst/>
            <a:gdLst>
              <a:gd name="connsiteX0" fmla="*/ 4068732 w 4068731"/>
              <a:gd name="connsiteY0" fmla="*/ 0 h 6858000"/>
              <a:gd name="connsiteX1" fmla="*/ 2749202 w 4068731"/>
              <a:gd name="connsiteY1" fmla="*/ 0 h 6858000"/>
              <a:gd name="connsiteX2" fmla="*/ 1453802 w 4068731"/>
              <a:gd name="connsiteY2" fmla="*/ 2786380 h 6858000"/>
              <a:gd name="connsiteX3" fmla="*/ 8542 w 4068731"/>
              <a:gd name="connsiteY3" fmla="*/ 4671060 h 6858000"/>
              <a:gd name="connsiteX4" fmla="*/ 1255682 w 4068731"/>
              <a:gd name="connsiteY4" fmla="*/ 6858000 h 6858000"/>
              <a:gd name="connsiteX5" fmla="*/ 4068732 w 4068731"/>
              <a:gd name="connsiteY5" fmla="*/ 6858000 h 6858000"/>
              <a:gd name="connsiteX6" fmla="*/ 4068732 w 406873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8731" h="6858000">
                <a:moveTo>
                  <a:pt x="4068732" y="0"/>
                </a:moveTo>
                <a:lnTo>
                  <a:pt x="2749202" y="0"/>
                </a:lnTo>
                <a:cubicBezTo>
                  <a:pt x="3295302" y="1083310"/>
                  <a:pt x="3080672" y="2165350"/>
                  <a:pt x="1453802" y="2786380"/>
                </a:cubicBezTo>
                <a:cubicBezTo>
                  <a:pt x="672752" y="3072130"/>
                  <a:pt x="86012" y="3787140"/>
                  <a:pt x="8542" y="4671060"/>
                </a:cubicBezTo>
                <a:cubicBezTo>
                  <a:pt x="-74008" y="5614670"/>
                  <a:pt x="449232" y="6471920"/>
                  <a:pt x="1255682" y="6858000"/>
                </a:cubicBezTo>
                <a:lnTo>
                  <a:pt x="4068732" y="6858000"/>
                </a:lnTo>
                <a:lnTo>
                  <a:pt x="4068732" y="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3" name="picture">
            <a:extLst>
              <a:ext uri="{FF2B5EF4-FFF2-40B4-BE49-F238E27FC236}">
                <a16:creationId xmlns:a16="http://schemas.microsoft.com/office/drawing/2014/main" id="{65F041A7-C11A-A7CB-3DBC-051A6F5C00C5}"/>
              </a:ext>
            </a:extLst>
          </p:cNvPr>
          <p:cNvSpPr>
            <a:spLocks noGrp="1" noChangeAspect="1"/>
          </p:cNvSpPr>
          <p:nvPr>
            <p:ph type="pic" sz="quarter" idx="16"/>
          </p:nvPr>
        </p:nvSpPr>
        <p:spPr>
          <a:xfrm>
            <a:off x="1000502" y="1569600"/>
            <a:ext cx="3240000" cy="3240000"/>
          </a:xfrm>
          <a:prstGeom prst="flowChartConnector">
            <a:avLst/>
          </a:prstGeom>
          <a:noFill/>
        </p:spPr>
        <p:txBody>
          <a:bodyPr anchor="ctr"/>
          <a:lstStyle>
            <a:lvl1pPr algn="ctr">
              <a:defRPr/>
            </a:lvl1pPr>
          </a:lstStyle>
          <a:p>
            <a:r>
              <a:rPr lang="de-DE"/>
              <a:t>Bild durch Klicken auf Symbol hinzufügen</a:t>
            </a:r>
            <a:endParaRPr lang="de-DE" dirty="0"/>
          </a:p>
        </p:txBody>
      </p:sp>
      <p:sp>
        <p:nvSpPr>
          <p:cNvPr id="16" name="slide number">
            <a:extLst>
              <a:ext uri="{FF2B5EF4-FFF2-40B4-BE49-F238E27FC236}">
                <a16:creationId xmlns:a16="http://schemas.microsoft.com/office/drawing/2014/main" id="{CFBACB6C-E538-315B-836C-5747BC433DD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7" name="footer">
            <a:extLst>
              <a:ext uri="{FF2B5EF4-FFF2-40B4-BE49-F238E27FC236}">
                <a16:creationId xmlns:a16="http://schemas.microsoft.com/office/drawing/2014/main" id="{CB867239-D2B4-D5DB-1E8A-708333F2D82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8" name="date">
            <a:extLst>
              <a:ext uri="{FF2B5EF4-FFF2-40B4-BE49-F238E27FC236}">
                <a16:creationId xmlns:a16="http://schemas.microsoft.com/office/drawing/2014/main" id="{A908DC11-E6F3-54CF-0E9D-2ADE4513C7F7}"/>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9" name="text">
            <a:extLst>
              <a:ext uri="{FF2B5EF4-FFF2-40B4-BE49-F238E27FC236}">
                <a16:creationId xmlns:a16="http://schemas.microsoft.com/office/drawing/2014/main" id="{9BE9AB25-3402-897C-7102-5B25952D6A3F}"/>
              </a:ext>
            </a:extLst>
          </p:cNvPr>
          <p:cNvSpPr>
            <a:spLocks noGrp="1"/>
          </p:cNvSpPr>
          <p:nvPr>
            <p:ph type="body" idx="1"/>
          </p:nvPr>
        </p:nvSpPr>
        <p:spPr>
          <a:xfrm>
            <a:off x="5868000" y="2880000"/>
            <a:ext cx="5760000" cy="3276336"/>
          </a:xfrm>
          <a:noFill/>
        </p:spPr>
        <p:txBody>
          <a:bodyPr vert="horz" lIns="0" tIns="0" rIns="0" bIns="0" rtlCol="0">
            <a:noAutofit/>
          </a:bodyPr>
          <a:lstStyle>
            <a:lvl1pPr>
              <a:lnSpc>
                <a:spcPts val="1600"/>
              </a:lnSpc>
              <a:spcAft>
                <a:spcPts val="0"/>
              </a:spcAft>
              <a:defRPr lang="en-US" sz="1200" dirty="0"/>
            </a:lvl1pPr>
            <a:lvl2pPr>
              <a:lnSpc>
                <a:spcPts val="1600"/>
              </a:lnSpc>
              <a:spcAft>
                <a:spcPts val="0"/>
              </a:spcAft>
              <a:defRPr sz="1200"/>
            </a:lvl2pPr>
            <a:lvl3pPr>
              <a:lnSpc>
                <a:spcPts val="1600"/>
              </a:lnSpc>
              <a:spcAft>
                <a:spcPts val="0"/>
              </a:spcAft>
              <a:defRPr sz="1200"/>
            </a:lvl3pPr>
            <a:lvl4pPr>
              <a:lnSpc>
                <a:spcPts val="1600"/>
              </a:lnSpc>
              <a:spcAft>
                <a:spcPts val="0"/>
              </a:spcAft>
              <a:defRPr sz="1200"/>
            </a:lvl4pPr>
            <a:lvl5pPr>
              <a:spcBef>
                <a:spcPts val="300"/>
              </a:spcBef>
              <a:spcAft>
                <a:spcPts val="1800"/>
              </a:spcAft>
              <a:defRPr sz="1200"/>
            </a:lvl5pPr>
            <a:lvl6pPr>
              <a:defRPr sz="1200"/>
            </a:lvl6pPr>
            <a:lvl7pPr>
              <a:defRPr sz="1200"/>
            </a:lvl7pPr>
            <a:lvl8pPr>
              <a:defRPr sz="1200"/>
            </a:lvl8pPr>
            <a:lvl9pPr>
              <a:defRPr sz="1200"/>
            </a:lvl9pPr>
          </a:lstStyle>
          <a:p>
            <a:pPr lvl="0"/>
            <a:r>
              <a:rPr lang="de-DE"/>
              <a:t>Mastertextformat bearbeiten</a:t>
            </a:r>
          </a:p>
        </p:txBody>
      </p:sp>
      <p:sp>
        <p:nvSpPr>
          <p:cNvPr id="12" name="role">
            <a:extLst>
              <a:ext uri="{FF2B5EF4-FFF2-40B4-BE49-F238E27FC236}">
                <a16:creationId xmlns:a16="http://schemas.microsoft.com/office/drawing/2014/main" id="{2E068325-F576-E139-3996-A94AB4C7DB9F}"/>
              </a:ext>
            </a:extLst>
          </p:cNvPr>
          <p:cNvSpPr>
            <a:spLocks noGrp="1"/>
          </p:cNvSpPr>
          <p:nvPr>
            <p:ph type="body" idx="23"/>
          </p:nvPr>
        </p:nvSpPr>
        <p:spPr>
          <a:xfrm>
            <a:off x="5868000" y="1872000"/>
            <a:ext cx="5760000" cy="434612"/>
          </a:xfrm>
        </p:spPr>
        <p:txBody>
          <a:bodyPr lIns="0" rIns="0" anchor="t"/>
          <a:lstStyle>
            <a:lvl1pPr marL="0" indent="0">
              <a:lnSpc>
                <a:spcPts val="1800"/>
              </a:lnSpc>
              <a:spcBef>
                <a:spcPts val="0"/>
              </a:spcBef>
              <a:spcAft>
                <a:spcPts val="0"/>
              </a:spcAft>
              <a:buNone/>
              <a:tabLst/>
              <a:defRPr sz="14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title">
            <a:extLst>
              <a:ext uri="{FF2B5EF4-FFF2-40B4-BE49-F238E27FC236}">
                <a16:creationId xmlns:a16="http://schemas.microsoft.com/office/drawing/2014/main" id="{AE7120AA-6746-99EE-C354-C34DE95787A5}"/>
              </a:ext>
            </a:extLst>
          </p:cNvPr>
          <p:cNvSpPr>
            <a:spLocks noGrp="1"/>
          </p:cNvSpPr>
          <p:nvPr>
            <p:ph type="title"/>
          </p:nvPr>
        </p:nvSpPr>
        <p:spPr>
          <a:xfrm>
            <a:off x="5868000" y="972000"/>
            <a:ext cx="5760000" cy="863600"/>
          </a:xfrm>
        </p:spPr>
        <p:txBody>
          <a:bodyPr vert="horz" anchor="b" anchorCtr="0"/>
          <a:lstStyle/>
          <a:p>
            <a:r>
              <a:rPr lang="de-DE"/>
              <a:t>Mastertitelformat bearbeiten</a:t>
            </a:r>
            <a:endParaRPr lang="en-US"/>
          </a:p>
        </p:txBody>
      </p:sp>
      <p:pic>
        <p:nvPicPr>
          <p:cNvPr id="6" name="valantic logo">
            <a:extLst>
              <a:ext uri="{FF2B5EF4-FFF2-40B4-BE49-F238E27FC236}">
                <a16:creationId xmlns:a16="http://schemas.microsoft.com/office/drawing/2014/main" id="{50E89532-4908-70C7-5CEA-E877FAC16A2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5887" y="6218848"/>
            <a:ext cx="1169231" cy="450666"/>
          </a:xfrm>
          <a:prstGeom prst="rect">
            <a:avLst/>
          </a:prstGeom>
        </p:spPr>
      </p:pic>
    </p:spTree>
    <p:extLst>
      <p:ext uri="{BB962C8B-B14F-4D97-AF65-F5344CB8AC3E}">
        <p14:creationId xmlns:p14="http://schemas.microsoft.com/office/powerpoint/2010/main" val="4117943596"/>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  049 : Team : Profile 1 : Details">
    <p:spTree>
      <p:nvGrpSpPr>
        <p:cNvPr id="1" name=""/>
        <p:cNvGrpSpPr/>
        <p:nvPr/>
      </p:nvGrpSpPr>
      <p:grpSpPr>
        <a:xfrm>
          <a:off x="0" y="0"/>
          <a:ext cx="0" cy="0"/>
          <a:chOff x="0" y="0"/>
          <a:chExt cx="0" cy="0"/>
        </a:xfrm>
      </p:grpSpPr>
      <p:sp>
        <p:nvSpPr>
          <p:cNvPr id="2" name="slide number">
            <a:extLst>
              <a:ext uri="{FF2B5EF4-FFF2-40B4-BE49-F238E27FC236}">
                <a16:creationId xmlns:a16="http://schemas.microsoft.com/office/drawing/2014/main" id="{8C089861-5434-E9A5-23AF-9E895E74CE5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7" name="footer">
            <a:extLst>
              <a:ext uri="{FF2B5EF4-FFF2-40B4-BE49-F238E27FC236}">
                <a16:creationId xmlns:a16="http://schemas.microsoft.com/office/drawing/2014/main" id="{394AD75E-89F1-25C9-D689-F4E40F1D5E9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9" name="date">
            <a:extLst>
              <a:ext uri="{FF2B5EF4-FFF2-40B4-BE49-F238E27FC236}">
                <a16:creationId xmlns:a16="http://schemas.microsoft.com/office/drawing/2014/main" id="{671A8254-12C4-D4C4-AFBD-B224022CCA0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6" name="content 6">
            <a:extLst>
              <a:ext uri="{FF2B5EF4-FFF2-40B4-BE49-F238E27FC236}">
                <a16:creationId xmlns:a16="http://schemas.microsoft.com/office/drawing/2014/main" id="{4000585D-21AD-114B-2B3C-84570D93D15B}"/>
              </a:ext>
            </a:extLst>
          </p:cNvPr>
          <p:cNvSpPr>
            <a:spLocks noGrp="1"/>
          </p:cNvSpPr>
          <p:nvPr>
            <p:ph sz="quarter" idx="78"/>
          </p:nvPr>
        </p:nvSpPr>
        <p:spPr>
          <a:xfrm>
            <a:off x="10044000" y="1453622"/>
            <a:ext cx="1584000" cy="4716000"/>
          </a:xfrm>
          <a:prstGeom prst="rect">
            <a:avLst/>
          </a:prstGeom>
          <a:noFill/>
        </p:spPr>
        <p:txBody>
          <a:bodyPr vert="horz" lIns="0" tIns="0" rIns="0" bIns="0" rtlCol="0">
            <a:noAutofit/>
          </a:bodyPr>
          <a:lstStyle>
            <a:lvl1pPr>
              <a:lnSpc>
                <a:spcPts val="1600"/>
              </a:lnSpc>
              <a:spcBef>
                <a:spcPts val="0"/>
              </a:spcBef>
              <a:spcAft>
                <a:spcPts val="0"/>
              </a:spcAft>
              <a:defRPr lang="en-US" sz="1000" dirty="0"/>
            </a:lvl1pPr>
            <a:lvl2pPr>
              <a:lnSpc>
                <a:spcPts val="1600"/>
              </a:lnSpc>
              <a:spcBef>
                <a:spcPts val="0"/>
              </a:spcBef>
              <a:spcAft>
                <a:spcPts val="0"/>
              </a:spcAft>
              <a:defRPr lang="en-US" sz="1000" smtClean="0"/>
            </a:lvl2pPr>
            <a:lvl3pPr>
              <a:lnSpc>
                <a:spcPts val="1600"/>
              </a:lnSpc>
              <a:spcBef>
                <a:spcPts val="0"/>
              </a:spcBef>
              <a:spcAft>
                <a:spcPts val="0"/>
              </a:spcAft>
              <a:defRPr lang="en-US" sz="1000" smtClean="0"/>
            </a:lvl3pPr>
            <a:lvl4pPr>
              <a:lnSpc>
                <a:spcPts val="1600"/>
              </a:lnSpc>
              <a:spcBef>
                <a:spcPts val="0"/>
              </a:spcBef>
              <a:spcAft>
                <a:spcPts val="0"/>
              </a:spcAft>
              <a:defRPr lang="en-US" sz="1000" smtClean="0"/>
            </a:lvl4pPr>
            <a:lvl5pPr>
              <a:defRPr lang="en-US" sz="1000" smtClean="0">
                <a:solidFill>
                  <a:schemeClr val="tx1"/>
                </a:solidFill>
              </a:defRPr>
            </a:lvl5pPr>
            <a:lvl6pPr>
              <a:defRPr lang="en-US" sz="1000" smtClean="0"/>
            </a:lvl6pPr>
            <a:lvl7pPr>
              <a:defRPr lang="en-US" sz="1000" smtClean="0"/>
            </a:lvl7pPr>
            <a:lvl8pPr>
              <a:defRPr lang="en-US" sz="1000" smtClean="0"/>
            </a:lvl8pPr>
            <a:lvl9pPr>
              <a:lnSpc>
                <a:spcPts val="1200"/>
              </a:lnSpc>
              <a:spcAft>
                <a:spcPts val="600"/>
              </a:spcAft>
              <a:defRPr lang="en-US" sz="1000" smtClean="0"/>
            </a:lvl9pPr>
          </a:lstStyle>
          <a:p>
            <a:pPr lvl="0">
              <a:lnSpc>
                <a:spcPts val="1400"/>
              </a:lnSpc>
              <a:spcBef>
                <a:spcPts val="100"/>
              </a:spcBef>
              <a:spcAft>
                <a:spcPts val="100"/>
              </a:spcAft>
            </a:pPr>
            <a:r>
              <a:rPr lang="de-DE"/>
              <a:t>Mastertextformat bearbeiten</a:t>
            </a:r>
          </a:p>
          <a:p>
            <a:pPr lvl="1">
              <a:lnSpc>
                <a:spcPts val="1400"/>
              </a:lnSpc>
              <a:spcBef>
                <a:spcPts val="100"/>
              </a:spcBef>
              <a:spcAft>
                <a:spcPts val="100"/>
              </a:spcAft>
            </a:pPr>
            <a:r>
              <a:rPr lang="de-DE"/>
              <a:t>Zweite Ebene</a:t>
            </a:r>
          </a:p>
          <a:p>
            <a:pPr lvl="2">
              <a:lnSpc>
                <a:spcPts val="1400"/>
              </a:lnSpc>
              <a:spcBef>
                <a:spcPts val="100"/>
              </a:spcBef>
              <a:spcAft>
                <a:spcPts val="100"/>
              </a:spcAft>
            </a:pPr>
            <a:r>
              <a:rPr lang="de-DE"/>
              <a:t>Dritte Ebene</a:t>
            </a:r>
          </a:p>
          <a:p>
            <a:pPr lvl="3">
              <a:lnSpc>
                <a:spcPts val="1400"/>
              </a:lnSpc>
              <a:spcBef>
                <a:spcPts val="100"/>
              </a:spcBef>
              <a:spcAft>
                <a:spcPts val="100"/>
              </a:spcAft>
            </a:pPr>
            <a:r>
              <a:rPr lang="de-DE"/>
              <a:t>Vierte Ebene</a:t>
            </a:r>
          </a:p>
          <a:p>
            <a:pPr lvl="4">
              <a:lnSpc>
                <a:spcPts val="1400"/>
              </a:lnSpc>
              <a:spcBef>
                <a:spcPts val="100"/>
              </a:spcBef>
              <a:spcAft>
                <a:spcPts val="100"/>
              </a:spcAft>
            </a:pPr>
            <a:r>
              <a:rPr lang="de-DE"/>
              <a:t>Fünfte Ebene</a:t>
            </a:r>
            <a:endParaRPr lang="en-US" dirty="0"/>
          </a:p>
        </p:txBody>
      </p:sp>
      <p:sp>
        <p:nvSpPr>
          <p:cNvPr id="25" name="content 5">
            <a:extLst>
              <a:ext uri="{FF2B5EF4-FFF2-40B4-BE49-F238E27FC236}">
                <a16:creationId xmlns:a16="http://schemas.microsoft.com/office/drawing/2014/main" id="{34476E83-4EE1-BDC0-D1D2-68D10401CEC4}"/>
              </a:ext>
            </a:extLst>
          </p:cNvPr>
          <p:cNvSpPr>
            <a:spLocks noGrp="1"/>
          </p:cNvSpPr>
          <p:nvPr>
            <p:ph sz="quarter" idx="77"/>
          </p:nvPr>
        </p:nvSpPr>
        <p:spPr>
          <a:xfrm>
            <a:off x="7771517" y="1453622"/>
            <a:ext cx="2160000" cy="4716000"/>
          </a:xfrm>
          <a:prstGeom prst="rect">
            <a:avLst/>
          </a:prstGeom>
          <a:noFill/>
        </p:spPr>
        <p:txBody>
          <a:bodyPr vert="horz" lIns="0" tIns="0" rIns="0" bIns="0" rtlCol="0">
            <a:noAutofit/>
          </a:bodyPr>
          <a:lstStyle>
            <a:lvl1pPr>
              <a:lnSpc>
                <a:spcPts val="1600"/>
              </a:lnSpc>
              <a:spcBef>
                <a:spcPts val="0"/>
              </a:spcBef>
              <a:spcAft>
                <a:spcPts val="0"/>
              </a:spcAft>
              <a:defRPr lang="en-US" sz="1000" dirty="0"/>
            </a:lvl1pPr>
            <a:lvl2pPr>
              <a:lnSpc>
                <a:spcPts val="1600"/>
              </a:lnSpc>
              <a:spcBef>
                <a:spcPts val="0"/>
              </a:spcBef>
              <a:spcAft>
                <a:spcPts val="0"/>
              </a:spcAft>
              <a:defRPr lang="en-US" sz="1000" smtClean="0"/>
            </a:lvl2pPr>
            <a:lvl3pPr>
              <a:lnSpc>
                <a:spcPts val="1600"/>
              </a:lnSpc>
              <a:spcBef>
                <a:spcPts val="0"/>
              </a:spcBef>
              <a:spcAft>
                <a:spcPts val="0"/>
              </a:spcAft>
              <a:defRPr lang="en-US" sz="1000" smtClean="0"/>
            </a:lvl3pPr>
            <a:lvl4pPr>
              <a:lnSpc>
                <a:spcPts val="1600"/>
              </a:lnSpc>
              <a:spcBef>
                <a:spcPts val="0"/>
              </a:spcBef>
              <a:spcAft>
                <a:spcPts val="0"/>
              </a:spcAft>
              <a:defRPr lang="en-US" sz="1000" smtClean="0"/>
            </a:lvl4pPr>
            <a:lvl5pPr>
              <a:defRPr lang="en-US" sz="1000" smtClean="0">
                <a:solidFill>
                  <a:schemeClr val="tx1"/>
                </a:solidFill>
              </a:defRPr>
            </a:lvl5pPr>
            <a:lvl6pPr>
              <a:defRPr lang="en-US" sz="1000" smtClean="0"/>
            </a:lvl6pPr>
            <a:lvl7pPr>
              <a:defRPr lang="en-US" sz="1000" smtClean="0"/>
            </a:lvl7pPr>
            <a:lvl8pPr>
              <a:defRPr lang="en-US" sz="1000" smtClean="0"/>
            </a:lvl8pPr>
            <a:lvl9pPr>
              <a:lnSpc>
                <a:spcPts val="1200"/>
              </a:lnSpc>
              <a:spcAft>
                <a:spcPts val="600"/>
              </a:spcAft>
              <a:defRPr lang="en-US" sz="1000" smtClean="0"/>
            </a:lvl9pPr>
          </a:lstStyle>
          <a:p>
            <a:pPr lvl="0">
              <a:lnSpc>
                <a:spcPts val="1400"/>
              </a:lnSpc>
              <a:spcBef>
                <a:spcPts val="100"/>
              </a:spcBef>
              <a:spcAft>
                <a:spcPts val="100"/>
              </a:spcAft>
            </a:pPr>
            <a:r>
              <a:rPr lang="de-DE"/>
              <a:t>Mastertextformat bearbeiten</a:t>
            </a:r>
          </a:p>
          <a:p>
            <a:pPr lvl="1">
              <a:lnSpc>
                <a:spcPts val="1400"/>
              </a:lnSpc>
              <a:spcBef>
                <a:spcPts val="100"/>
              </a:spcBef>
              <a:spcAft>
                <a:spcPts val="100"/>
              </a:spcAft>
            </a:pPr>
            <a:r>
              <a:rPr lang="de-DE"/>
              <a:t>Zweite Ebene</a:t>
            </a:r>
          </a:p>
          <a:p>
            <a:pPr lvl="2">
              <a:lnSpc>
                <a:spcPts val="1400"/>
              </a:lnSpc>
              <a:spcBef>
                <a:spcPts val="100"/>
              </a:spcBef>
              <a:spcAft>
                <a:spcPts val="100"/>
              </a:spcAft>
            </a:pPr>
            <a:r>
              <a:rPr lang="de-DE"/>
              <a:t>Dritte Ebene</a:t>
            </a:r>
          </a:p>
          <a:p>
            <a:pPr lvl="3">
              <a:lnSpc>
                <a:spcPts val="1400"/>
              </a:lnSpc>
              <a:spcBef>
                <a:spcPts val="100"/>
              </a:spcBef>
              <a:spcAft>
                <a:spcPts val="100"/>
              </a:spcAft>
            </a:pPr>
            <a:r>
              <a:rPr lang="de-DE"/>
              <a:t>Vierte Ebene</a:t>
            </a:r>
          </a:p>
          <a:p>
            <a:pPr lvl="4">
              <a:lnSpc>
                <a:spcPts val="1400"/>
              </a:lnSpc>
              <a:spcBef>
                <a:spcPts val="100"/>
              </a:spcBef>
              <a:spcAft>
                <a:spcPts val="100"/>
              </a:spcAft>
            </a:pPr>
            <a:r>
              <a:rPr lang="de-DE"/>
              <a:t>Fünfte Ebene</a:t>
            </a:r>
            <a:endParaRPr lang="en-US" dirty="0"/>
          </a:p>
        </p:txBody>
      </p:sp>
      <p:sp>
        <p:nvSpPr>
          <p:cNvPr id="20" name="content 4">
            <a:extLst>
              <a:ext uri="{FF2B5EF4-FFF2-40B4-BE49-F238E27FC236}">
                <a16:creationId xmlns:a16="http://schemas.microsoft.com/office/drawing/2014/main" id="{3CBEB059-9275-40EC-54B6-7D9C7BE41AB1}"/>
              </a:ext>
            </a:extLst>
          </p:cNvPr>
          <p:cNvSpPr>
            <a:spLocks noGrp="1"/>
          </p:cNvSpPr>
          <p:nvPr>
            <p:ph sz="quarter" idx="76"/>
          </p:nvPr>
        </p:nvSpPr>
        <p:spPr>
          <a:xfrm>
            <a:off x="5499033" y="1453622"/>
            <a:ext cx="2160000" cy="4716000"/>
          </a:xfrm>
          <a:prstGeom prst="rect">
            <a:avLst/>
          </a:prstGeom>
          <a:noFill/>
        </p:spPr>
        <p:txBody>
          <a:bodyPr vert="horz" lIns="0" tIns="0" rIns="0" bIns="0" rtlCol="0">
            <a:noAutofit/>
          </a:bodyPr>
          <a:lstStyle>
            <a:lvl1pPr>
              <a:lnSpc>
                <a:spcPts val="1600"/>
              </a:lnSpc>
              <a:spcBef>
                <a:spcPts val="0"/>
              </a:spcBef>
              <a:spcAft>
                <a:spcPts val="0"/>
              </a:spcAft>
              <a:defRPr lang="en-US" sz="1000" dirty="0"/>
            </a:lvl1pPr>
            <a:lvl2pPr>
              <a:lnSpc>
                <a:spcPts val="1600"/>
              </a:lnSpc>
              <a:spcBef>
                <a:spcPts val="0"/>
              </a:spcBef>
              <a:spcAft>
                <a:spcPts val="0"/>
              </a:spcAft>
              <a:defRPr lang="en-US" sz="1000" smtClean="0"/>
            </a:lvl2pPr>
            <a:lvl3pPr>
              <a:lnSpc>
                <a:spcPts val="1600"/>
              </a:lnSpc>
              <a:spcBef>
                <a:spcPts val="0"/>
              </a:spcBef>
              <a:spcAft>
                <a:spcPts val="0"/>
              </a:spcAft>
              <a:defRPr lang="en-US" sz="1000" smtClean="0"/>
            </a:lvl3pPr>
            <a:lvl4pPr>
              <a:lnSpc>
                <a:spcPts val="1600"/>
              </a:lnSpc>
              <a:spcBef>
                <a:spcPts val="0"/>
              </a:spcBef>
              <a:spcAft>
                <a:spcPts val="0"/>
              </a:spcAft>
              <a:defRPr lang="en-US" sz="1000" smtClean="0"/>
            </a:lvl4pPr>
            <a:lvl5pPr>
              <a:defRPr lang="en-US" sz="1000" smtClean="0">
                <a:solidFill>
                  <a:schemeClr val="tx1"/>
                </a:solidFill>
              </a:defRPr>
            </a:lvl5pPr>
            <a:lvl6pPr>
              <a:defRPr lang="en-US" sz="1000" smtClean="0"/>
            </a:lvl6pPr>
            <a:lvl7pPr>
              <a:defRPr lang="en-US" sz="1000" smtClean="0"/>
            </a:lvl7pPr>
            <a:lvl8pPr>
              <a:defRPr lang="en-US" sz="1000" smtClean="0"/>
            </a:lvl8pPr>
            <a:lvl9pPr>
              <a:lnSpc>
                <a:spcPts val="1200"/>
              </a:lnSpc>
              <a:spcAft>
                <a:spcPts val="600"/>
              </a:spcAft>
              <a:defRPr lang="en-US" sz="1000" smtClean="0"/>
            </a:lvl9pPr>
          </a:lstStyle>
          <a:p>
            <a:pPr lvl="0">
              <a:lnSpc>
                <a:spcPts val="1400"/>
              </a:lnSpc>
              <a:spcBef>
                <a:spcPts val="100"/>
              </a:spcBef>
              <a:spcAft>
                <a:spcPts val="100"/>
              </a:spcAft>
            </a:pPr>
            <a:r>
              <a:rPr lang="de-DE"/>
              <a:t>Mastertextformat bearbeiten</a:t>
            </a:r>
          </a:p>
          <a:p>
            <a:pPr lvl="1">
              <a:lnSpc>
                <a:spcPts val="1400"/>
              </a:lnSpc>
              <a:spcBef>
                <a:spcPts val="100"/>
              </a:spcBef>
              <a:spcAft>
                <a:spcPts val="100"/>
              </a:spcAft>
            </a:pPr>
            <a:r>
              <a:rPr lang="de-DE"/>
              <a:t>Zweite Ebene</a:t>
            </a:r>
          </a:p>
          <a:p>
            <a:pPr lvl="2">
              <a:lnSpc>
                <a:spcPts val="1400"/>
              </a:lnSpc>
              <a:spcBef>
                <a:spcPts val="100"/>
              </a:spcBef>
              <a:spcAft>
                <a:spcPts val="100"/>
              </a:spcAft>
            </a:pPr>
            <a:r>
              <a:rPr lang="de-DE"/>
              <a:t>Dritte Ebene</a:t>
            </a:r>
          </a:p>
          <a:p>
            <a:pPr lvl="3">
              <a:lnSpc>
                <a:spcPts val="1400"/>
              </a:lnSpc>
              <a:spcBef>
                <a:spcPts val="100"/>
              </a:spcBef>
              <a:spcAft>
                <a:spcPts val="100"/>
              </a:spcAft>
            </a:pPr>
            <a:r>
              <a:rPr lang="de-DE"/>
              <a:t>Vierte Ebene</a:t>
            </a:r>
          </a:p>
          <a:p>
            <a:pPr lvl="4">
              <a:lnSpc>
                <a:spcPts val="1400"/>
              </a:lnSpc>
              <a:spcBef>
                <a:spcPts val="100"/>
              </a:spcBef>
              <a:spcAft>
                <a:spcPts val="100"/>
              </a:spcAft>
            </a:pPr>
            <a:r>
              <a:rPr lang="de-DE"/>
              <a:t>Fünfte Ebene</a:t>
            </a:r>
            <a:endParaRPr lang="en-US" dirty="0"/>
          </a:p>
        </p:txBody>
      </p:sp>
      <p:sp>
        <p:nvSpPr>
          <p:cNvPr id="29" name="content 3">
            <a:extLst>
              <a:ext uri="{FF2B5EF4-FFF2-40B4-BE49-F238E27FC236}">
                <a16:creationId xmlns:a16="http://schemas.microsoft.com/office/drawing/2014/main" id="{089017DA-0B17-4563-BAB4-945351F65707}"/>
              </a:ext>
            </a:extLst>
          </p:cNvPr>
          <p:cNvSpPr>
            <a:spLocks noGrp="1"/>
          </p:cNvSpPr>
          <p:nvPr>
            <p:ph sz="quarter" idx="79"/>
          </p:nvPr>
        </p:nvSpPr>
        <p:spPr>
          <a:xfrm>
            <a:off x="3226549" y="4279014"/>
            <a:ext cx="2160000" cy="1908000"/>
          </a:xfrm>
          <a:prstGeom prst="rect">
            <a:avLst/>
          </a:prstGeom>
          <a:noFill/>
        </p:spPr>
        <p:txBody>
          <a:bodyPr vert="horz" lIns="0" tIns="0" rIns="0" bIns="0" rtlCol="0">
            <a:noAutofit/>
          </a:bodyPr>
          <a:lstStyle>
            <a:lvl1pPr>
              <a:lnSpc>
                <a:spcPts val="1600"/>
              </a:lnSpc>
              <a:spcBef>
                <a:spcPts val="0"/>
              </a:spcBef>
              <a:spcAft>
                <a:spcPts val="0"/>
              </a:spcAft>
              <a:defRPr lang="en-US" sz="1000" dirty="0"/>
            </a:lvl1pPr>
            <a:lvl2pPr>
              <a:lnSpc>
                <a:spcPts val="1600"/>
              </a:lnSpc>
              <a:spcBef>
                <a:spcPts val="0"/>
              </a:spcBef>
              <a:spcAft>
                <a:spcPts val="0"/>
              </a:spcAft>
              <a:defRPr lang="en-US" sz="1000" smtClean="0"/>
            </a:lvl2pPr>
            <a:lvl3pPr>
              <a:lnSpc>
                <a:spcPts val="1600"/>
              </a:lnSpc>
              <a:spcBef>
                <a:spcPts val="0"/>
              </a:spcBef>
              <a:spcAft>
                <a:spcPts val="0"/>
              </a:spcAft>
              <a:defRPr lang="en-US" sz="1000" smtClean="0"/>
            </a:lvl3pPr>
            <a:lvl4pPr>
              <a:lnSpc>
                <a:spcPts val="1600"/>
              </a:lnSpc>
              <a:spcBef>
                <a:spcPts val="0"/>
              </a:spcBef>
              <a:spcAft>
                <a:spcPts val="0"/>
              </a:spcAft>
              <a:defRPr lang="en-US" sz="1000" smtClean="0"/>
            </a:lvl4pPr>
            <a:lvl5pPr>
              <a:defRPr lang="en-US" sz="1000" smtClean="0">
                <a:solidFill>
                  <a:schemeClr val="tx1"/>
                </a:solidFill>
              </a:defRPr>
            </a:lvl5pPr>
            <a:lvl6pPr>
              <a:defRPr lang="en-US" sz="1000" smtClean="0"/>
            </a:lvl6pPr>
            <a:lvl7pPr>
              <a:defRPr lang="en-US" sz="1000" smtClean="0"/>
            </a:lvl7pPr>
            <a:lvl8pPr>
              <a:defRPr lang="en-US" sz="1000" smtClean="0"/>
            </a:lvl8pPr>
            <a:lvl9pPr>
              <a:lnSpc>
                <a:spcPts val="1200"/>
              </a:lnSpc>
              <a:spcAft>
                <a:spcPts val="600"/>
              </a:spcAft>
              <a:defRPr lang="en-US" sz="1000" smtClean="0"/>
            </a:lvl9pPr>
          </a:lstStyle>
          <a:p>
            <a:pPr lvl="0">
              <a:lnSpc>
                <a:spcPts val="1400"/>
              </a:lnSpc>
              <a:spcBef>
                <a:spcPts val="100"/>
              </a:spcBef>
              <a:spcAft>
                <a:spcPts val="100"/>
              </a:spcAft>
            </a:pPr>
            <a:r>
              <a:rPr lang="de-DE"/>
              <a:t>Mastertextformat bearbeiten</a:t>
            </a:r>
          </a:p>
          <a:p>
            <a:pPr lvl="1">
              <a:lnSpc>
                <a:spcPts val="1400"/>
              </a:lnSpc>
              <a:spcBef>
                <a:spcPts val="100"/>
              </a:spcBef>
              <a:spcAft>
                <a:spcPts val="100"/>
              </a:spcAft>
            </a:pPr>
            <a:r>
              <a:rPr lang="de-DE"/>
              <a:t>Zweite Ebene</a:t>
            </a:r>
          </a:p>
          <a:p>
            <a:pPr lvl="2">
              <a:lnSpc>
                <a:spcPts val="1400"/>
              </a:lnSpc>
              <a:spcBef>
                <a:spcPts val="100"/>
              </a:spcBef>
              <a:spcAft>
                <a:spcPts val="100"/>
              </a:spcAft>
            </a:pPr>
            <a:r>
              <a:rPr lang="de-DE"/>
              <a:t>Dritte Ebene</a:t>
            </a:r>
          </a:p>
          <a:p>
            <a:pPr lvl="3">
              <a:lnSpc>
                <a:spcPts val="1400"/>
              </a:lnSpc>
              <a:spcBef>
                <a:spcPts val="100"/>
              </a:spcBef>
              <a:spcAft>
                <a:spcPts val="100"/>
              </a:spcAft>
            </a:pPr>
            <a:r>
              <a:rPr lang="de-DE"/>
              <a:t>Vierte Ebene</a:t>
            </a:r>
          </a:p>
          <a:p>
            <a:pPr lvl="4">
              <a:lnSpc>
                <a:spcPts val="1400"/>
              </a:lnSpc>
              <a:spcBef>
                <a:spcPts val="100"/>
              </a:spcBef>
              <a:spcAft>
                <a:spcPts val="100"/>
              </a:spcAft>
            </a:pPr>
            <a:r>
              <a:rPr lang="de-DE"/>
              <a:t>Fünfte Ebene</a:t>
            </a:r>
            <a:endParaRPr lang="en-US" dirty="0"/>
          </a:p>
        </p:txBody>
      </p:sp>
      <p:sp>
        <p:nvSpPr>
          <p:cNvPr id="24" name="content 2">
            <a:extLst>
              <a:ext uri="{FF2B5EF4-FFF2-40B4-BE49-F238E27FC236}">
                <a16:creationId xmlns:a16="http://schemas.microsoft.com/office/drawing/2014/main" id="{60ED7C70-87D7-2FBF-876B-93BA30DF0D71}"/>
              </a:ext>
            </a:extLst>
          </p:cNvPr>
          <p:cNvSpPr>
            <a:spLocks noGrp="1"/>
          </p:cNvSpPr>
          <p:nvPr>
            <p:ph sz="quarter" idx="70"/>
          </p:nvPr>
        </p:nvSpPr>
        <p:spPr>
          <a:xfrm>
            <a:off x="3226549" y="1453622"/>
            <a:ext cx="2160000" cy="2592000"/>
          </a:xfrm>
          <a:prstGeom prst="rect">
            <a:avLst/>
          </a:prstGeom>
          <a:noFill/>
        </p:spPr>
        <p:txBody>
          <a:bodyPr vert="horz" lIns="0" tIns="0" rIns="0" bIns="0" rtlCol="0">
            <a:noAutofit/>
          </a:bodyPr>
          <a:lstStyle>
            <a:lvl1pPr>
              <a:lnSpc>
                <a:spcPts val="1600"/>
              </a:lnSpc>
              <a:spcBef>
                <a:spcPts val="0"/>
              </a:spcBef>
              <a:spcAft>
                <a:spcPts val="0"/>
              </a:spcAft>
              <a:defRPr lang="en-US" sz="1000" dirty="0"/>
            </a:lvl1pPr>
            <a:lvl2pPr>
              <a:lnSpc>
                <a:spcPts val="1600"/>
              </a:lnSpc>
              <a:spcBef>
                <a:spcPts val="0"/>
              </a:spcBef>
              <a:spcAft>
                <a:spcPts val="0"/>
              </a:spcAft>
              <a:defRPr lang="en-US" sz="1000" smtClean="0"/>
            </a:lvl2pPr>
            <a:lvl3pPr>
              <a:lnSpc>
                <a:spcPts val="1600"/>
              </a:lnSpc>
              <a:spcBef>
                <a:spcPts val="0"/>
              </a:spcBef>
              <a:spcAft>
                <a:spcPts val="0"/>
              </a:spcAft>
              <a:defRPr lang="en-US" sz="1000" smtClean="0"/>
            </a:lvl3pPr>
            <a:lvl4pPr>
              <a:lnSpc>
                <a:spcPts val="1600"/>
              </a:lnSpc>
              <a:spcBef>
                <a:spcPts val="0"/>
              </a:spcBef>
              <a:spcAft>
                <a:spcPts val="0"/>
              </a:spcAft>
              <a:defRPr lang="en-US" sz="1000" smtClean="0"/>
            </a:lvl4pPr>
            <a:lvl5pPr>
              <a:defRPr lang="en-US" sz="1000" smtClean="0">
                <a:solidFill>
                  <a:schemeClr val="tx1"/>
                </a:solidFill>
              </a:defRPr>
            </a:lvl5pPr>
            <a:lvl6pPr>
              <a:defRPr lang="en-US" sz="1000" smtClean="0"/>
            </a:lvl6pPr>
            <a:lvl7pPr>
              <a:defRPr lang="en-US" sz="1000" smtClean="0"/>
            </a:lvl7pPr>
            <a:lvl8pPr>
              <a:defRPr lang="en-US" sz="1000" smtClean="0"/>
            </a:lvl8pPr>
            <a:lvl9pPr>
              <a:lnSpc>
                <a:spcPts val="1200"/>
              </a:lnSpc>
              <a:spcAft>
                <a:spcPts val="600"/>
              </a:spcAft>
              <a:defRPr lang="en-US" sz="1000" smtClean="0"/>
            </a:lvl9pPr>
          </a:lstStyle>
          <a:p>
            <a:pPr lvl="0">
              <a:lnSpc>
                <a:spcPts val="1400"/>
              </a:lnSpc>
              <a:spcBef>
                <a:spcPts val="100"/>
              </a:spcBef>
              <a:spcAft>
                <a:spcPts val="100"/>
              </a:spcAft>
            </a:pPr>
            <a:r>
              <a:rPr lang="de-DE"/>
              <a:t>Mastertextformat bearbeiten</a:t>
            </a:r>
          </a:p>
          <a:p>
            <a:pPr lvl="1">
              <a:lnSpc>
                <a:spcPts val="1400"/>
              </a:lnSpc>
              <a:spcBef>
                <a:spcPts val="100"/>
              </a:spcBef>
              <a:spcAft>
                <a:spcPts val="100"/>
              </a:spcAft>
            </a:pPr>
            <a:r>
              <a:rPr lang="de-DE"/>
              <a:t>Zweite Ebene</a:t>
            </a:r>
          </a:p>
          <a:p>
            <a:pPr lvl="2">
              <a:lnSpc>
                <a:spcPts val="1400"/>
              </a:lnSpc>
              <a:spcBef>
                <a:spcPts val="100"/>
              </a:spcBef>
              <a:spcAft>
                <a:spcPts val="100"/>
              </a:spcAft>
            </a:pPr>
            <a:r>
              <a:rPr lang="de-DE"/>
              <a:t>Dritte Ebene</a:t>
            </a:r>
          </a:p>
          <a:p>
            <a:pPr lvl="3">
              <a:lnSpc>
                <a:spcPts val="1400"/>
              </a:lnSpc>
              <a:spcBef>
                <a:spcPts val="100"/>
              </a:spcBef>
              <a:spcAft>
                <a:spcPts val="100"/>
              </a:spcAft>
            </a:pPr>
            <a:r>
              <a:rPr lang="de-DE"/>
              <a:t>Vierte Ebene</a:t>
            </a:r>
          </a:p>
          <a:p>
            <a:pPr lvl="4">
              <a:lnSpc>
                <a:spcPts val="1400"/>
              </a:lnSpc>
              <a:spcBef>
                <a:spcPts val="100"/>
              </a:spcBef>
              <a:spcAft>
                <a:spcPts val="100"/>
              </a:spcAft>
            </a:pPr>
            <a:r>
              <a:rPr lang="de-DE"/>
              <a:t>Fünfte Ebene</a:t>
            </a:r>
            <a:endParaRPr lang="en-US" dirty="0"/>
          </a:p>
        </p:txBody>
      </p:sp>
      <p:sp>
        <p:nvSpPr>
          <p:cNvPr id="30" name="content 1">
            <a:extLst>
              <a:ext uri="{FF2B5EF4-FFF2-40B4-BE49-F238E27FC236}">
                <a16:creationId xmlns:a16="http://schemas.microsoft.com/office/drawing/2014/main" id="{DBC563D3-ED21-E461-F246-841B242650F7}"/>
              </a:ext>
            </a:extLst>
          </p:cNvPr>
          <p:cNvSpPr>
            <a:spLocks noGrp="1"/>
          </p:cNvSpPr>
          <p:nvPr>
            <p:ph sz="quarter" idx="80"/>
          </p:nvPr>
        </p:nvSpPr>
        <p:spPr>
          <a:xfrm>
            <a:off x="565252" y="4279014"/>
            <a:ext cx="2176334" cy="1908000"/>
          </a:xfrm>
          <a:prstGeom prst="rect">
            <a:avLst/>
          </a:prstGeom>
          <a:noFill/>
        </p:spPr>
        <p:txBody>
          <a:bodyPr vert="horz" lIns="0" tIns="0" rIns="0" bIns="0" rtlCol="0">
            <a:noAutofit/>
          </a:bodyPr>
          <a:lstStyle>
            <a:lvl1pPr>
              <a:lnSpc>
                <a:spcPts val="1600"/>
              </a:lnSpc>
              <a:spcBef>
                <a:spcPts val="0"/>
              </a:spcBef>
              <a:spcAft>
                <a:spcPts val="0"/>
              </a:spcAft>
              <a:defRPr lang="en-US" sz="1000" dirty="0"/>
            </a:lvl1pPr>
            <a:lvl2pPr>
              <a:lnSpc>
                <a:spcPts val="1600"/>
              </a:lnSpc>
              <a:spcBef>
                <a:spcPts val="0"/>
              </a:spcBef>
              <a:spcAft>
                <a:spcPts val="0"/>
              </a:spcAft>
              <a:defRPr lang="en-US" sz="1000" smtClean="0"/>
            </a:lvl2pPr>
            <a:lvl3pPr>
              <a:lnSpc>
                <a:spcPts val="1600"/>
              </a:lnSpc>
              <a:spcBef>
                <a:spcPts val="0"/>
              </a:spcBef>
              <a:spcAft>
                <a:spcPts val="0"/>
              </a:spcAft>
              <a:defRPr lang="en-US" sz="1000" smtClean="0"/>
            </a:lvl3pPr>
            <a:lvl4pPr>
              <a:lnSpc>
                <a:spcPts val="1600"/>
              </a:lnSpc>
              <a:spcBef>
                <a:spcPts val="0"/>
              </a:spcBef>
              <a:spcAft>
                <a:spcPts val="0"/>
              </a:spcAft>
              <a:defRPr lang="en-US" sz="1000" smtClean="0"/>
            </a:lvl4pPr>
            <a:lvl5pPr>
              <a:defRPr lang="en-US" sz="1000" smtClean="0">
                <a:solidFill>
                  <a:schemeClr val="tx1"/>
                </a:solidFill>
              </a:defRPr>
            </a:lvl5pPr>
            <a:lvl6pPr>
              <a:defRPr lang="en-US" sz="1000" smtClean="0"/>
            </a:lvl6pPr>
            <a:lvl7pPr>
              <a:defRPr lang="en-US" sz="1000" smtClean="0"/>
            </a:lvl7pPr>
            <a:lvl8pPr>
              <a:defRPr lang="en-US" sz="1000" smtClean="0"/>
            </a:lvl8pPr>
            <a:lvl9pPr>
              <a:lnSpc>
                <a:spcPts val="1200"/>
              </a:lnSpc>
              <a:spcAft>
                <a:spcPts val="600"/>
              </a:spcAft>
              <a:defRPr lang="en-US" sz="1000" smtClean="0"/>
            </a:lvl9pPr>
          </a:lstStyle>
          <a:p>
            <a:pPr lvl="0">
              <a:lnSpc>
                <a:spcPts val="1400"/>
              </a:lnSpc>
              <a:spcBef>
                <a:spcPts val="100"/>
              </a:spcBef>
              <a:spcAft>
                <a:spcPts val="100"/>
              </a:spcAft>
            </a:pPr>
            <a:r>
              <a:rPr lang="de-DE"/>
              <a:t>Mastertextformat bearbeiten</a:t>
            </a:r>
          </a:p>
          <a:p>
            <a:pPr lvl="1">
              <a:lnSpc>
                <a:spcPts val="1400"/>
              </a:lnSpc>
              <a:spcBef>
                <a:spcPts val="100"/>
              </a:spcBef>
              <a:spcAft>
                <a:spcPts val="100"/>
              </a:spcAft>
            </a:pPr>
            <a:r>
              <a:rPr lang="de-DE"/>
              <a:t>Zweite Ebene</a:t>
            </a:r>
          </a:p>
          <a:p>
            <a:pPr lvl="2">
              <a:lnSpc>
                <a:spcPts val="1400"/>
              </a:lnSpc>
              <a:spcBef>
                <a:spcPts val="100"/>
              </a:spcBef>
              <a:spcAft>
                <a:spcPts val="100"/>
              </a:spcAft>
            </a:pPr>
            <a:r>
              <a:rPr lang="de-DE"/>
              <a:t>Dritte Ebene</a:t>
            </a:r>
          </a:p>
          <a:p>
            <a:pPr lvl="3">
              <a:lnSpc>
                <a:spcPts val="1400"/>
              </a:lnSpc>
              <a:spcBef>
                <a:spcPts val="100"/>
              </a:spcBef>
              <a:spcAft>
                <a:spcPts val="100"/>
              </a:spcAft>
            </a:pPr>
            <a:r>
              <a:rPr lang="de-DE"/>
              <a:t>Vierte Ebene</a:t>
            </a:r>
          </a:p>
          <a:p>
            <a:pPr lvl="4">
              <a:lnSpc>
                <a:spcPts val="1400"/>
              </a:lnSpc>
              <a:spcBef>
                <a:spcPts val="100"/>
              </a:spcBef>
              <a:spcAft>
                <a:spcPts val="100"/>
              </a:spcAft>
            </a:pPr>
            <a:r>
              <a:rPr lang="de-DE"/>
              <a:t>Fünfte Ebene</a:t>
            </a:r>
            <a:endParaRPr lang="en-US" dirty="0"/>
          </a:p>
        </p:txBody>
      </p:sp>
      <p:sp>
        <p:nvSpPr>
          <p:cNvPr id="52" name="picture">
            <a:extLst>
              <a:ext uri="{FF2B5EF4-FFF2-40B4-BE49-F238E27FC236}">
                <a16:creationId xmlns:a16="http://schemas.microsoft.com/office/drawing/2014/main" id="{E16D530D-B736-1C98-A57D-381E4DCC2AA7}"/>
              </a:ext>
            </a:extLst>
          </p:cNvPr>
          <p:cNvSpPr>
            <a:spLocks noGrp="1"/>
          </p:cNvSpPr>
          <p:nvPr>
            <p:ph type="pic" sz="quarter" idx="21"/>
          </p:nvPr>
        </p:nvSpPr>
        <p:spPr>
          <a:xfrm>
            <a:off x="-95102" y="2037996"/>
            <a:ext cx="2700000" cy="1980000"/>
          </a:xfrm>
          <a:prstGeom prst="roundRect">
            <a:avLst>
              <a:gd name="adj" fmla="val 3959"/>
            </a:avLst>
          </a:prstGeom>
          <a:solidFill>
            <a:schemeClr val="bg1"/>
          </a:solidFill>
          <a:effectLst/>
        </p:spPr>
        <p:txBody>
          <a:bodyPr/>
          <a:lstStyle>
            <a:lvl1pPr>
              <a:defRPr lang="en-DE" dirty="0"/>
            </a:lvl1pPr>
          </a:lstStyle>
          <a:p>
            <a:r>
              <a:rPr lang="de-DE"/>
              <a:t>Bild durch Klicken auf Symbol hinzufügen</a:t>
            </a:r>
            <a:endParaRPr lang="en-DE" dirty="0"/>
          </a:p>
        </p:txBody>
      </p:sp>
      <p:sp>
        <p:nvSpPr>
          <p:cNvPr id="21" name="name">
            <a:extLst>
              <a:ext uri="{FF2B5EF4-FFF2-40B4-BE49-F238E27FC236}">
                <a16:creationId xmlns:a16="http://schemas.microsoft.com/office/drawing/2014/main" id="{37749CFC-962A-7BB2-6A64-5FAAD068DCA8}"/>
              </a:ext>
            </a:extLst>
          </p:cNvPr>
          <p:cNvSpPr>
            <a:spLocks noGrp="1"/>
          </p:cNvSpPr>
          <p:nvPr>
            <p:ph type="body" idx="69"/>
          </p:nvPr>
        </p:nvSpPr>
        <p:spPr>
          <a:xfrm>
            <a:off x="540000" y="1440000"/>
            <a:ext cx="2201586" cy="504000"/>
          </a:xfrm>
        </p:spPr>
        <p:txBody>
          <a:bodyPr lIns="0" rIns="0" anchor="t" anchorCtr="0"/>
          <a:lstStyle>
            <a:lvl1pPr marL="0" indent="0" algn="l">
              <a:lnSpc>
                <a:spcPts val="1800"/>
              </a:lnSpc>
              <a:spcBef>
                <a:spcPts val="0"/>
              </a:spcBef>
              <a:spcAft>
                <a:spcPts val="0"/>
              </a:spcAft>
              <a:buNone/>
              <a:defRPr sz="1400" b="0" cap="all" spc="100" baseline="0">
                <a:gradFill>
                  <a:gsLst>
                    <a:gs pos="0">
                      <a:srgbClr val="FF4B4B"/>
                    </a:gs>
                    <a:gs pos="100000">
                      <a:srgbClr val="FF744F"/>
                    </a:gs>
                  </a:gsLst>
                  <a:lin ang="18900000" scaled="1"/>
                </a:gra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 name="title">
            <a:extLst>
              <a:ext uri="{FF2B5EF4-FFF2-40B4-BE49-F238E27FC236}">
                <a16:creationId xmlns:a16="http://schemas.microsoft.com/office/drawing/2014/main" id="{1E014A56-6919-303A-F165-A8B9AFE520AB}"/>
              </a:ext>
            </a:extLst>
          </p:cNvPr>
          <p:cNvSpPr>
            <a:spLocks noGrp="1"/>
          </p:cNvSpPr>
          <p:nvPr>
            <p:ph type="title"/>
          </p:nvPr>
        </p:nvSpPr>
        <p:spPr>
          <a:xfrm>
            <a:off x="540000" y="622301"/>
            <a:ext cx="11088000" cy="648000"/>
          </a:xfrm>
        </p:spPr>
        <p:txBody>
          <a:bodyPr vert="horz"/>
          <a:lstStyle/>
          <a:p>
            <a:r>
              <a:rPr lang="de-DE"/>
              <a:t>Mastertitelformat bearbeiten</a:t>
            </a:r>
            <a:endParaRPr lang="en-US"/>
          </a:p>
        </p:txBody>
      </p:sp>
      <p:sp>
        <p:nvSpPr>
          <p:cNvPr id="50" name="navigation">
            <a:extLst>
              <a:ext uri="{FF2B5EF4-FFF2-40B4-BE49-F238E27FC236}">
                <a16:creationId xmlns:a16="http://schemas.microsoft.com/office/drawing/2014/main" id="{FD8D2581-6964-2778-6F2E-FEB7528273AD}"/>
              </a:ext>
            </a:extLst>
          </p:cNvPr>
          <p:cNvSpPr>
            <a:spLocks noGrp="1"/>
          </p:cNvSpPr>
          <p:nvPr>
            <p:ph type="body" sz="quarter" idx="14"/>
          </p:nvPr>
        </p:nvSpPr>
        <p:spPr>
          <a:xfrm>
            <a:off x="576000" y="396000"/>
            <a:ext cx="11052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824129374"/>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  049 : Team : Profile 2 : Details">
    <p:spTree>
      <p:nvGrpSpPr>
        <p:cNvPr id="1" name=""/>
        <p:cNvGrpSpPr/>
        <p:nvPr/>
      </p:nvGrpSpPr>
      <p:grpSpPr>
        <a:xfrm>
          <a:off x="0" y="0"/>
          <a:ext cx="0" cy="0"/>
          <a:chOff x="0" y="0"/>
          <a:chExt cx="0" cy="0"/>
        </a:xfrm>
      </p:grpSpPr>
      <p:sp>
        <p:nvSpPr>
          <p:cNvPr id="3" name="slide number">
            <a:extLst>
              <a:ext uri="{FF2B5EF4-FFF2-40B4-BE49-F238E27FC236}">
                <a16:creationId xmlns:a16="http://schemas.microsoft.com/office/drawing/2014/main" id="{13CE9111-A551-DE35-7F96-3CB24C61C6D5}"/>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0" name="footer">
            <a:extLst>
              <a:ext uri="{FF2B5EF4-FFF2-40B4-BE49-F238E27FC236}">
                <a16:creationId xmlns:a16="http://schemas.microsoft.com/office/drawing/2014/main" id="{7679B2B8-7BD6-46FB-8D99-331D814C6093}"/>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5" name="date">
            <a:extLst>
              <a:ext uri="{FF2B5EF4-FFF2-40B4-BE49-F238E27FC236}">
                <a16:creationId xmlns:a16="http://schemas.microsoft.com/office/drawing/2014/main" id="{1DEF1CD6-C0CB-6D64-EE61-6612CF5942A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8" name="picture right">
            <a:extLst>
              <a:ext uri="{FF2B5EF4-FFF2-40B4-BE49-F238E27FC236}">
                <a16:creationId xmlns:a16="http://schemas.microsoft.com/office/drawing/2014/main" id="{500BF364-B154-B732-45F8-3424E506904B}"/>
              </a:ext>
            </a:extLst>
          </p:cNvPr>
          <p:cNvSpPr>
            <a:spLocks noGrp="1"/>
          </p:cNvSpPr>
          <p:nvPr>
            <p:ph type="pic" sz="quarter" idx="19"/>
          </p:nvPr>
        </p:nvSpPr>
        <p:spPr>
          <a:xfrm>
            <a:off x="4140000" y="1980000"/>
            <a:ext cx="2376000" cy="2088000"/>
          </a:xfrm>
          <a:prstGeom prst="roundRect">
            <a:avLst>
              <a:gd name="adj" fmla="val 3390"/>
            </a:avLst>
          </a:prstGeom>
          <a:noFill/>
        </p:spPr>
        <p:txBody>
          <a:bodyPr vert="horz" lIns="0" tIns="0" rIns="0" bIns="0" rtlCol="0">
            <a:noAutofit/>
          </a:bodyPr>
          <a:lstStyle>
            <a:lvl1pPr>
              <a:defRPr lang="en-ID" sz="1000"/>
            </a:lvl1pPr>
          </a:lstStyle>
          <a:p>
            <a:pPr lvl="0">
              <a:lnSpc>
                <a:spcPts val="1400"/>
              </a:lnSpc>
              <a:spcBef>
                <a:spcPts val="100"/>
              </a:spcBef>
              <a:spcAft>
                <a:spcPts val="100"/>
              </a:spcAft>
            </a:pPr>
            <a:r>
              <a:rPr lang="de-DE"/>
              <a:t>Bild durch Klicken auf Symbol hinzufügen</a:t>
            </a:r>
            <a:endParaRPr lang="en-ID"/>
          </a:p>
        </p:txBody>
      </p:sp>
      <p:sp>
        <p:nvSpPr>
          <p:cNvPr id="20" name="content 6">
            <a:extLst>
              <a:ext uri="{FF2B5EF4-FFF2-40B4-BE49-F238E27FC236}">
                <a16:creationId xmlns:a16="http://schemas.microsoft.com/office/drawing/2014/main" id="{D66B83BD-F77A-871B-10EA-083838368142}"/>
              </a:ext>
            </a:extLst>
          </p:cNvPr>
          <p:cNvSpPr>
            <a:spLocks noGrp="1"/>
          </p:cNvSpPr>
          <p:nvPr>
            <p:ph sz="quarter" idx="73"/>
          </p:nvPr>
        </p:nvSpPr>
        <p:spPr>
          <a:xfrm>
            <a:off x="9036000" y="4174350"/>
            <a:ext cx="2592000" cy="1980000"/>
          </a:xfrm>
          <a:prstGeom prst="rect">
            <a:avLst/>
          </a:prstGeom>
          <a:noFill/>
        </p:spPr>
        <p:txBody>
          <a:bodyPr vert="horz" lIns="0" tIns="0" rIns="0" bIns="0" rtlCol="0">
            <a:noAutofit/>
          </a:bodyPr>
          <a:lstStyle>
            <a:lvl1pPr>
              <a:lnSpc>
                <a:spcPts val="1600"/>
              </a:lnSpc>
              <a:spcBef>
                <a:spcPts val="0"/>
              </a:spcBef>
              <a:spcAft>
                <a:spcPts val="0"/>
              </a:spcAft>
              <a:defRPr lang="en-US" sz="1000" dirty="0"/>
            </a:lvl1pPr>
            <a:lvl2pPr>
              <a:lnSpc>
                <a:spcPts val="1600"/>
              </a:lnSpc>
              <a:spcBef>
                <a:spcPts val="0"/>
              </a:spcBef>
              <a:spcAft>
                <a:spcPts val="0"/>
              </a:spcAft>
              <a:defRPr lang="en-US" sz="1000" smtClean="0"/>
            </a:lvl2pPr>
            <a:lvl3pPr>
              <a:lnSpc>
                <a:spcPts val="1600"/>
              </a:lnSpc>
              <a:spcBef>
                <a:spcPts val="0"/>
              </a:spcBef>
              <a:spcAft>
                <a:spcPts val="0"/>
              </a:spcAft>
              <a:defRPr lang="en-US" sz="1000" smtClean="0"/>
            </a:lvl3pPr>
            <a:lvl4pPr>
              <a:lnSpc>
                <a:spcPts val="1600"/>
              </a:lnSpc>
              <a:spcBef>
                <a:spcPts val="0"/>
              </a:spcBef>
              <a:spcAft>
                <a:spcPts val="0"/>
              </a:spcAft>
              <a:defRPr lang="en-US" sz="1000" smtClean="0"/>
            </a:lvl4pPr>
            <a:lvl5pPr>
              <a:defRPr lang="en-US" sz="1000" smtClean="0">
                <a:solidFill>
                  <a:schemeClr val="tx1"/>
                </a:solidFill>
              </a:defRPr>
            </a:lvl5pPr>
            <a:lvl6pPr>
              <a:defRPr lang="en-US" sz="1000" smtClean="0"/>
            </a:lvl6pPr>
            <a:lvl7pPr>
              <a:defRPr lang="en-US" sz="1000" smtClean="0"/>
            </a:lvl7pPr>
            <a:lvl8pPr>
              <a:defRPr lang="en-US" sz="1000" smtClean="0"/>
            </a:lvl8pPr>
            <a:lvl9pPr>
              <a:lnSpc>
                <a:spcPts val="1200"/>
              </a:lnSpc>
              <a:spcAft>
                <a:spcPts val="600"/>
              </a:spcAft>
              <a:defRPr lang="en-US" sz="1000" smtClean="0"/>
            </a:lvl9pPr>
          </a:lstStyle>
          <a:p>
            <a:pPr lvl="0">
              <a:lnSpc>
                <a:spcPts val="1400"/>
              </a:lnSpc>
              <a:spcBef>
                <a:spcPts val="100"/>
              </a:spcBef>
              <a:spcAft>
                <a:spcPts val="100"/>
              </a:spcAft>
            </a:pPr>
            <a:r>
              <a:rPr lang="de-DE"/>
              <a:t>Mastertextformat bearbeiten</a:t>
            </a:r>
          </a:p>
          <a:p>
            <a:pPr lvl="1">
              <a:lnSpc>
                <a:spcPts val="1400"/>
              </a:lnSpc>
              <a:spcBef>
                <a:spcPts val="100"/>
              </a:spcBef>
              <a:spcAft>
                <a:spcPts val="100"/>
              </a:spcAft>
            </a:pPr>
            <a:r>
              <a:rPr lang="de-DE"/>
              <a:t>Zweite Ebene</a:t>
            </a:r>
          </a:p>
          <a:p>
            <a:pPr lvl="2">
              <a:lnSpc>
                <a:spcPts val="1400"/>
              </a:lnSpc>
              <a:spcBef>
                <a:spcPts val="100"/>
              </a:spcBef>
              <a:spcAft>
                <a:spcPts val="100"/>
              </a:spcAft>
            </a:pPr>
            <a:r>
              <a:rPr lang="de-DE"/>
              <a:t>Dritte Ebene</a:t>
            </a:r>
          </a:p>
          <a:p>
            <a:pPr lvl="3">
              <a:lnSpc>
                <a:spcPts val="1400"/>
              </a:lnSpc>
              <a:spcBef>
                <a:spcPts val="100"/>
              </a:spcBef>
              <a:spcAft>
                <a:spcPts val="100"/>
              </a:spcAft>
            </a:pPr>
            <a:r>
              <a:rPr lang="de-DE"/>
              <a:t>Vierte Ebene</a:t>
            </a:r>
          </a:p>
          <a:p>
            <a:pPr lvl="4">
              <a:lnSpc>
                <a:spcPts val="1400"/>
              </a:lnSpc>
              <a:spcBef>
                <a:spcPts val="100"/>
              </a:spcBef>
              <a:spcAft>
                <a:spcPts val="100"/>
              </a:spcAft>
            </a:pPr>
            <a:r>
              <a:rPr lang="de-DE"/>
              <a:t>Fünfte Ebene</a:t>
            </a:r>
            <a:endParaRPr lang="en-US" dirty="0"/>
          </a:p>
        </p:txBody>
      </p:sp>
      <p:sp>
        <p:nvSpPr>
          <p:cNvPr id="19" name="content 5">
            <a:extLst>
              <a:ext uri="{FF2B5EF4-FFF2-40B4-BE49-F238E27FC236}">
                <a16:creationId xmlns:a16="http://schemas.microsoft.com/office/drawing/2014/main" id="{5AFBCE0C-30B2-68D8-714F-83FE52D6D288}"/>
              </a:ext>
            </a:extLst>
          </p:cNvPr>
          <p:cNvSpPr>
            <a:spLocks noGrp="1"/>
          </p:cNvSpPr>
          <p:nvPr>
            <p:ph sz="quarter" idx="72"/>
          </p:nvPr>
        </p:nvSpPr>
        <p:spPr>
          <a:xfrm>
            <a:off x="6912570" y="4174350"/>
            <a:ext cx="1980000" cy="1980000"/>
          </a:xfrm>
          <a:prstGeom prst="rect">
            <a:avLst/>
          </a:prstGeom>
          <a:noFill/>
        </p:spPr>
        <p:txBody>
          <a:bodyPr vert="horz" lIns="0" tIns="0" rIns="0" bIns="0" rtlCol="0">
            <a:noAutofit/>
          </a:bodyPr>
          <a:lstStyle>
            <a:lvl1pPr>
              <a:lnSpc>
                <a:spcPts val="1600"/>
              </a:lnSpc>
              <a:spcBef>
                <a:spcPts val="0"/>
              </a:spcBef>
              <a:spcAft>
                <a:spcPts val="0"/>
              </a:spcAft>
              <a:defRPr lang="en-US" sz="1000" dirty="0"/>
            </a:lvl1pPr>
            <a:lvl2pPr>
              <a:lnSpc>
                <a:spcPts val="1600"/>
              </a:lnSpc>
              <a:spcBef>
                <a:spcPts val="0"/>
              </a:spcBef>
              <a:spcAft>
                <a:spcPts val="0"/>
              </a:spcAft>
              <a:defRPr lang="en-US" sz="1000" smtClean="0"/>
            </a:lvl2pPr>
            <a:lvl3pPr>
              <a:lnSpc>
                <a:spcPts val="1600"/>
              </a:lnSpc>
              <a:spcBef>
                <a:spcPts val="0"/>
              </a:spcBef>
              <a:spcAft>
                <a:spcPts val="0"/>
              </a:spcAft>
              <a:defRPr lang="en-US" sz="1000" smtClean="0"/>
            </a:lvl3pPr>
            <a:lvl4pPr>
              <a:lnSpc>
                <a:spcPts val="1600"/>
              </a:lnSpc>
              <a:spcBef>
                <a:spcPts val="0"/>
              </a:spcBef>
              <a:spcAft>
                <a:spcPts val="0"/>
              </a:spcAft>
              <a:defRPr lang="en-US" sz="1000" smtClean="0"/>
            </a:lvl4pPr>
            <a:lvl5pPr>
              <a:defRPr lang="en-US" sz="1000" smtClean="0">
                <a:solidFill>
                  <a:schemeClr val="tx1"/>
                </a:solidFill>
              </a:defRPr>
            </a:lvl5pPr>
            <a:lvl6pPr>
              <a:defRPr lang="en-US" sz="1000" smtClean="0"/>
            </a:lvl6pPr>
            <a:lvl7pPr>
              <a:defRPr lang="en-US" sz="1000" smtClean="0"/>
            </a:lvl7pPr>
            <a:lvl8pPr>
              <a:defRPr lang="en-US" sz="1000" smtClean="0"/>
            </a:lvl8pPr>
            <a:lvl9pPr>
              <a:lnSpc>
                <a:spcPts val="1200"/>
              </a:lnSpc>
              <a:spcAft>
                <a:spcPts val="600"/>
              </a:spcAft>
              <a:defRPr lang="en-US" sz="1000" smtClean="0"/>
            </a:lvl9pPr>
          </a:lstStyle>
          <a:p>
            <a:pPr lvl="0">
              <a:lnSpc>
                <a:spcPts val="1400"/>
              </a:lnSpc>
              <a:spcBef>
                <a:spcPts val="100"/>
              </a:spcBef>
              <a:spcAft>
                <a:spcPts val="100"/>
              </a:spcAft>
            </a:pPr>
            <a:r>
              <a:rPr lang="de-DE"/>
              <a:t>Mastertextformat bearbeiten</a:t>
            </a:r>
          </a:p>
          <a:p>
            <a:pPr lvl="1">
              <a:lnSpc>
                <a:spcPts val="1400"/>
              </a:lnSpc>
              <a:spcBef>
                <a:spcPts val="100"/>
              </a:spcBef>
              <a:spcAft>
                <a:spcPts val="100"/>
              </a:spcAft>
            </a:pPr>
            <a:r>
              <a:rPr lang="de-DE"/>
              <a:t>Zweite Ebene</a:t>
            </a:r>
          </a:p>
          <a:p>
            <a:pPr lvl="2">
              <a:lnSpc>
                <a:spcPts val="1400"/>
              </a:lnSpc>
              <a:spcBef>
                <a:spcPts val="100"/>
              </a:spcBef>
              <a:spcAft>
                <a:spcPts val="100"/>
              </a:spcAft>
            </a:pPr>
            <a:r>
              <a:rPr lang="de-DE"/>
              <a:t>Dritte Ebene</a:t>
            </a:r>
          </a:p>
          <a:p>
            <a:pPr lvl="3">
              <a:lnSpc>
                <a:spcPts val="1400"/>
              </a:lnSpc>
              <a:spcBef>
                <a:spcPts val="100"/>
              </a:spcBef>
              <a:spcAft>
                <a:spcPts val="100"/>
              </a:spcAft>
            </a:pPr>
            <a:r>
              <a:rPr lang="de-DE"/>
              <a:t>Vierte Ebene</a:t>
            </a:r>
          </a:p>
          <a:p>
            <a:pPr lvl="4">
              <a:lnSpc>
                <a:spcPts val="1400"/>
              </a:lnSpc>
              <a:spcBef>
                <a:spcPts val="100"/>
              </a:spcBef>
              <a:spcAft>
                <a:spcPts val="100"/>
              </a:spcAft>
            </a:pPr>
            <a:r>
              <a:rPr lang="de-DE"/>
              <a:t>Fünfte Ebene</a:t>
            </a:r>
            <a:endParaRPr lang="en-US" dirty="0"/>
          </a:p>
        </p:txBody>
      </p:sp>
      <p:sp>
        <p:nvSpPr>
          <p:cNvPr id="11" name="content 4">
            <a:extLst>
              <a:ext uri="{FF2B5EF4-FFF2-40B4-BE49-F238E27FC236}">
                <a16:creationId xmlns:a16="http://schemas.microsoft.com/office/drawing/2014/main" id="{A2971DF2-F257-DB34-C757-4E8BFB3A77FF}"/>
              </a:ext>
            </a:extLst>
          </p:cNvPr>
          <p:cNvSpPr>
            <a:spLocks noGrp="1"/>
          </p:cNvSpPr>
          <p:nvPr>
            <p:ph sz="quarter" idx="71"/>
          </p:nvPr>
        </p:nvSpPr>
        <p:spPr>
          <a:xfrm>
            <a:off x="9036000" y="612000"/>
            <a:ext cx="2592000" cy="3456000"/>
          </a:xfrm>
          <a:prstGeom prst="rect">
            <a:avLst/>
          </a:prstGeom>
          <a:noFill/>
        </p:spPr>
        <p:txBody>
          <a:bodyPr vert="horz" lIns="0" tIns="0" rIns="0" bIns="0" rtlCol="0">
            <a:noAutofit/>
          </a:bodyPr>
          <a:lstStyle>
            <a:lvl1pPr>
              <a:lnSpc>
                <a:spcPts val="1600"/>
              </a:lnSpc>
              <a:spcBef>
                <a:spcPts val="0"/>
              </a:spcBef>
              <a:spcAft>
                <a:spcPts val="0"/>
              </a:spcAft>
              <a:defRPr lang="en-US" sz="1000" dirty="0"/>
            </a:lvl1pPr>
            <a:lvl2pPr>
              <a:lnSpc>
                <a:spcPts val="1600"/>
              </a:lnSpc>
              <a:spcBef>
                <a:spcPts val="0"/>
              </a:spcBef>
              <a:spcAft>
                <a:spcPts val="0"/>
              </a:spcAft>
              <a:defRPr lang="en-US" sz="1000" smtClean="0"/>
            </a:lvl2pPr>
            <a:lvl3pPr>
              <a:lnSpc>
                <a:spcPts val="1600"/>
              </a:lnSpc>
              <a:spcBef>
                <a:spcPts val="0"/>
              </a:spcBef>
              <a:spcAft>
                <a:spcPts val="0"/>
              </a:spcAft>
              <a:defRPr lang="en-US" sz="1000" smtClean="0"/>
            </a:lvl3pPr>
            <a:lvl4pPr>
              <a:lnSpc>
                <a:spcPts val="1600"/>
              </a:lnSpc>
              <a:spcBef>
                <a:spcPts val="0"/>
              </a:spcBef>
              <a:spcAft>
                <a:spcPts val="0"/>
              </a:spcAft>
              <a:defRPr lang="en-US" sz="1000" smtClean="0"/>
            </a:lvl4pPr>
            <a:lvl5pPr>
              <a:defRPr lang="en-US" sz="1000" smtClean="0">
                <a:solidFill>
                  <a:schemeClr val="tx1"/>
                </a:solidFill>
              </a:defRPr>
            </a:lvl5pPr>
            <a:lvl6pPr>
              <a:defRPr lang="en-US" sz="1000" smtClean="0"/>
            </a:lvl6pPr>
            <a:lvl7pPr>
              <a:defRPr lang="en-US" sz="1000" smtClean="0"/>
            </a:lvl7pPr>
            <a:lvl8pPr>
              <a:defRPr lang="en-US" sz="1000" smtClean="0"/>
            </a:lvl8pPr>
            <a:lvl9pPr>
              <a:lnSpc>
                <a:spcPts val="1200"/>
              </a:lnSpc>
              <a:spcAft>
                <a:spcPts val="600"/>
              </a:spcAft>
              <a:defRPr lang="en-US" sz="1000" smtClean="0"/>
            </a:lvl9pPr>
          </a:lstStyle>
          <a:p>
            <a:pPr lvl="0">
              <a:lnSpc>
                <a:spcPts val="1400"/>
              </a:lnSpc>
              <a:spcBef>
                <a:spcPts val="100"/>
              </a:spcBef>
              <a:spcAft>
                <a:spcPts val="100"/>
              </a:spcAft>
            </a:pPr>
            <a:r>
              <a:rPr lang="de-DE"/>
              <a:t>Mastertextformat bearbeiten</a:t>
            </a:r>
          </a:p>
          <a:p>
            <a:pPr lvl="1">
              <a:lnSpc>
                <a:spcPts val="1400"/>
              </a:lnSpc>
              <a:spcBef>
                <a:spcPts val="100"/>
              </a:spcBef>
              <a:spcAft>
                <a:spcPts val="100"/>
              </a:spcAft>
            </a:pPr>
            <a:r>
              <a:rPr lang="de-DE"/>
              <a:t>Zweite Ebene</a:t>
            </a:r>
          </a:p>
          <a:p>
            <a:pPr lvl="2">
              <a:lnSpc>
                <a:spcPts val="1400"/>
              </a:lnSpc>
              <a:spcBef>
                <a:spcPts val="100"/>
              </a:spcBef>
              <a:spcAft>
                <a:spcPts val="100"/>
              </a:spcAft>
            </a:pPr>
            <a:r>
              <a:rPr lang="de-DE"/>
              <a:t>Dritte Ebene</a:t>
            </a:r>
          </a:p>
          <a:p>
            <a:pPr lvl="3">
              <a:lnSpc>
                <a:spcPts val="1400"/>
              </a:lnSpc>
              <a:spcBef>
                <a:spcPts val="100"/>
              </a:spcBef>
              <a:spcAft>
                <a:spcPts val="100"/>
              </a:spcAft>
            </a:pPr>
            <a:r>
              <a:rPr lang="de-DE"/>
              <a:t>Vierte Ebene</a:t>
            </a:r>
          </a:p>
          <a:p>
            <a:pPr lvl="4">
              <a:lnSpc>
                <a:spcPts val="1400"/>
              </a:lnSpc>
              <a:spcBef>
                <a:spcPts val="100"/>
              </a:spcBef>
              <a:spcAft>
                <a:spcPts val="100"/>
              </a:spcAft>
            </a:pPr>
            <a:r>
              <a:rPr lang="de-DE"/>
              <a:t>Fünfte Ebene</a:t>
            </a:r>
            <a:endParaRPr lang="en-US" dirty="0"/>
          </a:p>
        </p:txBody>
      </p:sp>
      <p:sp>
        <p:nvSpPr>
          <p:cNvPr id="4" name="content 3">
            <a:extLst>
              <a:ext uri="{FF2B5EF4-FFF2-40B4-BE49-F238E27FC236}">
                <a16:creationId xmlns:a16="http://schemas.microsoft.com/office/drawing/2014/main" id="{FE2DAEC4-A246-1397-2D70-FD86B5008741}"/>
              </a:ext>
            </a:extLst>
          </p:cNvPr>
          <p:cNvSpPr>
            <a:spLocks noGrp="1"/>
          </p:cNvSpPr>
          <p:nvPr>
            <p:ph sz="quarter" idx="70"/>
          </p:nvPr>
        </p:nvSpPr>
        <p:spPr>
          <a:xfrm>
            <a:off x="6912570" y="611999"/>
            <a:ext cx="1980000" cy="3455998"/>
          </a:xfrm>
          <a:prstGeom prst="rect">
            <a:avLst/>
          </a:prstGeom>
          <a:noFill/>
        </p:spPr>
        <p:txBody>
          <a:bodyPr vert="horz" lIns="0" tIns="0" rIns="0" bIns="0" rtlCol="0">
            <a:noAutofit/>
          </a:bodyPr>
          <a:lstStyle>
            <a:lvl1pPr>
              <a:lnSpc>
                <a:spcPts val="1600"/>
              </a:lnSpc>
              <a:spcBef>
                <a:spcPts val="0"/>
              </a:spcBef>
              <a:spcAft>
                <a:spcPts val="0"/>
              </a:spcAft>
              <a:defRPr lang="en-US" sz="1000" dirty="0"/>
            </a:lvl1pPr>
            <a:lvl2pPr>
              <a:lnSpc>
                <a:spcPts val="1600"/>
              </a:lnSpc>
              <a:spcBef>
                <a:spcPts val="0"/>
              </a:spcBef>
              <a:spcAft>
                <a:spcPts val="0"/>
              </a:spcAft>
              <a:defRPr lang="en-US" sz="1000" smtClean="0"/>
            </a:lvl2pPr>
            <a:lvl3pPr>
              <a:lnSpc>
                <a:spcPts val="1600"/>
              </a:lnSpc>
              <a:spcBef>
                <a:spcPts val="0"/>
              </a:spcBef>
              <a:spcAft>
                <a:spcPts val="0"/>
              </a:spcAft>
              <a:defRPr lang="en-US" sz="1000" smtClean="0"/>
            </a:lvl3pPr>
            <a:lvl4pPr>
              <a:lnSpc>
                <a:spcPts val="1600"/>
              </a:lnSpc>
              <a:spcBef>
                <a:spcPts val="0"/>
              </a:spcBef>
              <a:spcAft>
                <a:spcPts val="0"/>
              </a:spcAft>
              <a:defRPr lang="en-US" sz="1000" smtClean="0"/>
            </a:lvl4pPr>
            <a:lvl5pPr>
              <a:defRPr lang="en-US" sz="1000" smtClean="0">
                <a:solidFill>
                  <a:schemeClr val="tx1"/>
                </a:solidFill>
              </a:defRPr>
            </a:lvl5pPr>
            <a:lvl6pPr>
              <a:defRPr lang="en-US" sz="1000" smtClean="0"/>
            </a:lvl6pPr>
            <a:lvl7pPr>
              <a:defRPr lang="en-US" sz="1000" smtClean="0"/>
            </a:lvl7pPr>
            <a:lvl8pPr>
              <a:defRPr lang="en-US" sz="1000" smtClean="0"/>
            </a:lvl8pPr>
            <a:lvl9pPr>
              <a:lnSpc>
                <a:spcPts val="1200"/>
              </a:lnSpc>
              <a:spcAft>
                <a:spcPts val="600"/>
              </a:spcAft>
              <a:defRPr lang="en-US" sz="1000" smtClean="0"/>
            </a:lvl9pPr>
          </a:lstStyle>
          <a:p>
            <a:pPr lvl="0">
              <a:lnSpc>
                <a:spcPts val="1400"/>
              </a:lnSpc>
              <a:spcBef>
                <a:spcPts val="100"/>
              </a:spcBef>
              <a:spcAft>
                <a:spcPts val="100"/>
              </a:spcAft>
            </a:pPr>
            <a:r>
              <a:rPr lang="de-DE"/>
              <a:t>Mastertextformat bearbeiten</a:t>
            </a:r>
          </a:p>
          <a:p>
            <a:pPr lvl="1">
              <a:lnSpc>
                <a:spcPts val="1400"/>
              </a:lnSpc>
              <a:spcBef>
                <a:spcPts val="100"/>
              </a:spcBef>
              <a:spcAft>
                <a:spcPts val="100"/>
              </a:spcAft>
            </a:pPr>
            <a:r>
              <a:rPr lang="de-DE"/>
              <a:t>Zweite Ebene</a:t>
            </a:r>
          </a:p>
          <a:p>
            <a:pPr lvl="2">
              <a:lnSpc>
                <a:spcPts val="1400"/>
              </a:lnSpc>
              <a:spcBef>
                <a:spcPts val="100"/>
              </a:spcBef>
              <a:spcAft>
                <a:spcPts val="100"/>
              </a:spcAft>
            </a:pPr>
            <a:r>
              <a:rPr lang="de-DE"/>
              <a:t>Dritte Ebene</a:t>
            </a:r>
          </a:p>
          <a:p>
            <a:pPr lvl="3">
              <a:lnSpc>
                <a:spcPts val="1400"/>
              </a:lnSpc>
              <a:spcBef>
                <a:spcPts val="100"/>
              </a:spcBef>
              <a:spcAft>
                <a:spcPts val="100"/>
              </a:spcAft>
            </a:pPr>
            <a:r>
              <a:rPr lang="de-DE"/>
              <a:t>Vierte Ebene</a:t>
            </a:r>
          </a:p>
          <a:p>
            <a:pPr lvl="4">
              <a:lnSpc>
                <a:spcPts val="1400"/>
              </a:lnSpc>
              <a:spcBef>
                <a:spcPts val="100"/>
              </a:spcBef>
              <a:spcAft>
                <a:spcPts val="100"/>
              </a:spcAft>
            </a:pPr>
            <a:r>
              <a:rPr lang="de-DE"/>
              <a:t>Fünfte Ebene</a:t>
            </a:r>
            <a:endParaRPr lang="en-US" dirty="0"/>
          </a:p>
        </p:txBody>
      </p:sp>
      <p:sp>
        <p:nvSpPr>
          <p:cNvPr id="21" name="content 2b">
            <a:extLst>
              <a:ext uri="{FF2B5EF4-FFF2-40B4-BE49-F238E27FC236}">
                <a16:creationId xmlns:a16="http://schemas.microsoft.com/office/drawing/2014/main" id="{9EB4C0AC-9C38-EC69-120B-EE72F6F9486E}"/>
              </a:ext>
            </a:extLst>
          </p:cNvPr>
          <p:cNvSpPr>
            <a:spLocks noGrp="1"/>
          </p:cNvSpPr>
          <p:nvPr>
            <p:ph sz="quarter" idx="74"/>
          </p:nvPr>
        </p:nvSpPr>
        <p:spPr>
          <a:xfrm>
            <a:off x="4140000" y="4174350"/>
            <a:ext cx="2376000" cy="1980000"/>
          </a:xfrm>
          <a:prstGeom prst="rect">
            <a:avLst/>
          </a:prstGeom>
          <a:noFill/>
        </p:spPr>
        <p:txBody>
          <a:bodyPr vert="horz" lIns="0" tIns="0" rIns="0" bIns="0" rtlCol="0">
            <a:noAutofit/>
          </a:bodyPr>
          <a:lstStyle>
            <a:lvl1pPr>
              <a:lnSpc>
                <a:spcPts val="1600"/>
              </a:lnSpc>
              <a:spcBef>
                <a:spcPts val="0"/>
              </a:spcBef>
              <a:spcAft>
                <a:spcPts val="0"/>
              </a:spcAft>
              <a:defRPr lang="en-US" sz="1000" dirty="0"/>
            </a:lvl1pPr>
            <a:lvl2pPr>
              <a:lnSpc>
                <a:spcPts val="1600"/>
              </a:lnSpc>
              <a:spcBef>
                <a:spcPts val="0"/>
              </a:spcBef>
              <a:spcAft>
                <a:spcPts val="0"/>
              </a:spcAft>
              <a:defRPr lang="en-US" sz="1000" smtClean="0"/>
            </a:lvl2pPr>
            <a:lvl3pPr>
              <a:lnSpc>
                <a:spcPts val="1600"/>
              </a:lnSpc>
              <a:spcBef>
                <a:spcPts val="0"/>
              </a:spcBef>
              <a:spcAft>
                <a:spcPts val="0"/>
              </a:spcAft>
              <a:defRPr lang="en-US" sz="1000" smtClean="0"/>
            </a:lvl3pPr>
            <a:lvl4pPr>
              <a:lnSpc>
                <a:spcPts val="1600"/>
              </a:lnSpc>
              <a:spcBef>
                <a:spcPts val="0"/>
              </a:spcBef>
              <a:spcAft>
                <a:spcPts val="0"/>
              </a:spcAft>
              <a:defRPr lang="en-US" sz="1000" smtClean="0"/>
            </a:lvl4pPr>
            <a:lvl5pPr>
              <a:defRPr lang="en-US" sz="1000" smtClean="0">
                <a:solidFill>
                  <a:schemeClr val="tx1"/>
                </a:solidFill>
              </a:defRPr>
            </a:lvl5pPr>
            <a:lvl6pPr>
              <a:defRPr lang="en-US" sz="1000" smtClean="0"/>
            </a:lvl6pPr>
            <a:lvl7pPr>
              <a:defRPr lang="en-US" sz="1000" smtClean="0"/>
            </a:lvl7pPr>
            <a:lvl8pPr>
              <a:defRPr lang="en-US" sz="1000" smtClean="0"/>
            </a:lvl8pPr>
            <a:lvl9pPr>
              <a:lnSpc>
                <a:spcPts val="1200"/>
              </a:lnSpc>
              <a:spcAft>
                <a:spcPts val="600"/>
              </a:spcAft>
              <a:defRPr lang="en-US" sz="1000" smtClean="0"/>
            </a:lvl9pPr>
          </a:lstStyle>
          <a:p>
            <a:pPr lvl="0">
              <a:lnSpc>
                <a:spcPts val="1400"/>
              </a:lnSpc>
              <a:spcBef>
                <a:spcPts val="100"/>
              </a:spcBef>
              <a:spcAft>
                <a:spcPts val="100"/>
              </a:spcAft>
            </a:pPr>
            <a:r>
              <a:rPr lang="de-DE"/>
              <a:t>Mastertextformat bearbeiten</a:t>
            </a:r>
          </a:p>
          <a:p>
            <a:pPr lvl="1">
              <a:lnSpc>
                <a:spcPts val="1400"/>
              </a:lnSpc>
              <a:spcBef>
                <a:spcPts val="100"/>
              </a:spcBef>
              <a:spcAft>
                <a:spcPts val="100"/>
              </a:spcAft>
            </a:pPr>
            <a:r>
              <a:rPr lang="de-DE"/>
              <a:t>Zweite Ebene</a:t>
            </a:r>
          </a:p>
          <a:p>
            <a:pPr lvl="2">
              <a:lnSpc>
                <a:spcPts val="1400"/>
              </a:lnSpc>
              <a:spcBef>
                <a:spcPts val="100"/>
              </a:spcBef>
              <a:spcAft>
                <a:spcPts val="100"/>
              </a:spcAft>
            </a:pPr>
            <a:r>
              <a:rPr lang="de-DE"/>
              <a:t>Dritte Ebene</a:t>
            </a:r>
          </a:p>
          <a:p>
            <a:pPr lvl="3">
              <a:lnSpc>
                <a:spcPts val="1400"/>
              </a:lnSpc>
              <a:spcBef>
                <a:spcPts val="100"/>
              </a:spcBef>
              <a:spcAft>
                <a:spcPts val="100"/>
              </a:spcAft>
            </a:pPr>
            <a:r>
              <a:rPr lang="de-DE"/>
              <a:t>Vierte Ebene</a:t>
            </a:r>
          </a:p>
          <a:p>
            <a:pPr lvl="4">
              <a:lnSpc>
                <a:spcPts val="1400"/>
              </a:lnSpc>
              <a:spcBef>
                <a:spcPts val="100"/>
              </a:spcBef>
              <a:spcAft>
                <a:spcPts val="100"/>
              </a:spcAft>
            </a:pPr>
            <a:r>
              <a:rPr lang="de-DE"/>
              <a:t>Fünfte Ebene</a:t>
            </a:r>
            <a:endParaRPr lang="en-US" dirty="0"/>
          </a:p>
        </p:txBody>
      </p:sp>
      <p:sp>
        <p:nvSpPr>
          <p:cNvPr id="9" name="content 2a">
            <a:extLst>
              <a:ext uri="{FF2B5EF4-FFF2-40B4-BE49-F238E27FC236}">
                <a16:creationId xmlns:a16="http://schemas.microsoft.com/office/drawing/2014/main" id="{A906F57E-C1A7-ECB2-3187-C56320FE3720}"/>
              </a:ext>
            </a:extLst>
          </p:cNvPr>
          <p:cNvSpPr>
            <a:spLocks noGrp="1"/>
          </p:cNvSpPr>
          <p:nvPr>
            <p:ph sz="quarter" idx="69"/>
          </p:nvPr>
        </p:nvSpPr>
        <p:spPr>
          <a:xfrm>
            <a:off x="4140000" y="612000"/>
            <a:ext cx="2376000" cy="1332000"/>
          </a:xfrm>
          <a:prstGeom prst="rect">
            <a:avLst/>
          </a:prstGeom>
          <a:noFill/>
        </p:spPr>
        <p:txBody>
          <a:bodyPr vert="horz" lIns="0" tIns="0" rIns="0" bIns="0" rtlCol="0">
            <a:noAutofit/>
          </a:bodyPr>
          <a:lstStyle>
            <a:lvl1pPr>
              <a:lnSpc>
                <a:spcPts val="1600"/>
              </a:lnSpc>
              <a:spcBef>
                <a:spcPts val="0"/>
              </a:spcBef>
              <a:spcAft>
                <a:spcPts val="0"/>
              </a:spcAft>
              <a:defRPr lang="en-US" sz="1000" dirty="0"/>
            </a:lvl1pPr>
            <a:lvl2pPr>
              <a:lnSpc>
                <a:spcPts val="1600"/>
              </a:lnSpc>
              <a:spcBef>
                <a:spcPts val="0"/>
              </a:spcBef>
              <a:spcAft>
                <a:spcPts val="0"/>
              </a:spcAft>
              <a:defRPr lang="en-US" sz="1000" smtClean="0"/>
            </a:lvl2pPr>
            <a:lvl3pPr>
              <a:lnSpc>
                <a:spcPts val="1600"/>
              </a:lnSpc>
              <a:spcBef>
                <a:spcPts val="0"/>
              </a:spcBef>
              <a:spcAft>
                <a:spcPts val="0"/>
              </a:spcAft>
              <a:defRPr lang="en-US" sz="1000" smtClean="0"/>
            </a:lvl3pPr>
            <a:lvl4pPr>
              <a:lnSpc>
                <a:spcPts val="1600"/>
              </a:lnSpc>
              <a:spcBef>
                <a:spcPts val="0"/>
              </a:spcBef>
              <a:spcAft>
                <a:spcPts val="0"/>
              </a:spcAft>
              <a:defRPr lang="en-US" sz="1000" smtClean="0"/>
            </a:lvl4pPr>
            <a:lvl5pPr>
              <a:defRPr lang="en-US" sz="1000" smtClean="0">
                <a:solidFill>
                  <a:schemeClr val="tx1"/>
                </a:solidFill>
              </a:defRPr>
            </a:lvl5pPr>
            <a:lvl6pPr>
              <a:defRPr lang="en-US" sz="1000" smtClean="0"/>
            </a:lvl6pPr>
            <a:lvl7pPr>
              <a:defRPr lang="en-US" sz="1000" smtClean="0"/>
            </a:lvl7pPr>
            <a:lvl8pPr>
              <a:defRPr lang="en-US" sz="1000" smtClean="0"/>
            </a:lvl8pPr>
            <a:lvl9pPr>
              <a:lnSpc>
                <a:spcPts val="1200"/>
              </a:lnSpc>
              <a:spcAft>
                <a:spcPts val="600"/>
              </a:spcAft>
              <a:defRPr lang="en-US" sz="1000" smtClean="0"/>
            </a:lvl9pPr>
          </a:lstStyle>
          <a:p>
            <a:pPr lvl="0">
              <a:lnSpc>
                <a:spcPts val="1400"/>
              </a:lnSpc>
              <a:spcBef>
                <a:spcPts val="100"/>
              </a:spcBef>
              <a:spcAft>
                <a:spcPts val="100"/>
              </a:spcAft>
            </a:pPr>
            <a:r>
              <a:rPr lang="de-DE"/>
              <a:t>Mastertextformat bearbeiten</a:t>
            </a:r>
          </a:p>
          <a:p>
            <a:pPr lvl="1">
              <a:lnSpc>
                <a:spcPts val="1400"/>
              </a:lnSpc>
              <a:spcBef>
                <a:spcPts val="100"/>
              </a:spcBef>
              <a:spcAft>
                <a:spcPts val="100"/>
              </a:spcAft>
            </a:pPr>
            <a:r>
              <a:rPr lang="de-DE"/>
              <a:t>Zweite Ebene</a:t>
            </a:r>
          </a:p>
          <a:p>
            <a:pPr lvl="2">
              <a:lnSpc>
                <a:spcPts val="1400"/>
              </a:lnSpc>
              <a:spcBef>
                <a:spcPts val="100"/>
              </a:spcBef>
              <a:spcAft>
                <a:spcPts val="100"/>
              </a:spcAft>
            </a:pPr>
            <a:r>
              <a:rPr lang="de-DE"/>
              <a:t>Dritte Ebene</a:t>
            </a:r>
          </a:p>
          <a:p>
            <a:pPr lvl="3">
              <a:lnSpc>
                <a:spcPts val="1400"/>
              </a:lnSpc>
              <a:spcBef>
                <a:spcPts val="100"/>
              </a:spcBef>
              <a:spcAft>
                <a:spcPts val="100"/>
              </a:spcAft>
            </a:pPr>
            <a:r>
              <a:rPr lang="de-DE"/>
              <a:t>Vierte Ebene</a:t>
            </a:r>
          </a:p>
          <a:p>
            <a:pPr lvl="4">
              <a:lnSpc>
                <a:spcPts val="1400"/>
              </a:lnSpc>
              <a:spcBef>
                <a:spcPts val="100"/>
              </a:spcBef>
              <a:spcAft>
                <a:spcPts val="100"/>
              </a:spcAft>
            </a:pPr>
            <a:r>
              <a:rPr lang="de-DE"/>
              <a:t>Fünfte Ebene</a:t>
            </a:r>
            <a:endParaRPr lang="en-US" dirty="0"/>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39996" y="1980000"/>
            <a:ext cx="3420000" cy="4176000"/>
          </a:xfrm>
          <a:prstGeom prst="rect">
            <a:avLst/>
          </a:prstGeom>
          <a:noFill/>
        </p:spPr>
        <p:txBody>
          <a:bodyPr vert="horz" lIns="0" tIns="0" rIns="0" bIns="0" rtlCol="0">
            <a:noAutofit/>
          </a:bodyPr>
          <a:lstStyle>
            <a:lvl1pPr>
              <a:defRPr lang="en-US" sz="1000" dirty="0"/>
            </a:lvl1pPr>
            <a:lvl2pPr>
              <a:defRPr lang="en-US" sz="1000"/>
            </a:lvl2pPr>
            <a:lvl3pPr>
              <a:defRPr lang="en-US" sz="1000"/>
            </a:lvl3pPr>
            <a:lvl4pPr>
              <a:defRPr lang="en-US" sz="1000"/>
            </a:lvl4pPr>
            <a:lvl5pPr>
              <a:defRPr lang="en-US" sz="1000">
                <a:solidFill>
                  <a:schemeClr val="tx1"/>
                </a:solidFill>
              </a:defRPr>
            </a:lvl5pPr>
            <a:lvl6pPr>
              <a:defRPr lang="en-US" sz="1000"/>
            </a:lvl6pPr>
            <a:lvl7pPr>
              <a:defRPr lang="en-US" sz="1000"/>
            </a:lvl7pPr>
            <a:lvl8pPr>
              <a:defRPr lang="en-US" sz="1000"/>
            </a:lvl8pPr>
            <a:lvl9pPr>
              <a:defRPr lang="en-US" sz="1000"/>
            </a:lvl9pPr>
          </a:lstStyle>
          <a:p>
            <a:pPr lvl="0">
              <a:lnSpc>
                <a:spcPts val="1400"/>
              </a:lnSpc>
              <a:spcBef>
                <a:spcPts val="100"/>
              </a:spcBef>
              <a:spcAft>
                <a:spcPts val="100"/>
              </a:spcAft>
            </a:pPr>
            <a:r>
              <a:rPr lang="de-DE"/>
              <a:t>Mastertextformat bearbeiten</a:t>
            </a:r>
          </a:p>
          <a:p>
            <a:pPr lvl="1">
              <a:lnSpc>
                <a:spcPts val="1400"/>
              </a:lnSpc>
              <a:spcBef>
                <a:spcPts val="100"/>
              </a:spcBef>
              <a:spcAft>
                <a:spcPts val="100"/>
              </a:spcAft>
            </a:pPr>
            <a:r>
              <a:rPr lang="de-DE"/>
              <a:t>Zweite Ebene</a:t>
            </a:r>
          </a:p>
          <a:p>
            <a:pPr lvl="2">
              <a:lnSpc>
                <a:spcPts val="1400"/>
              </a:lnSpc>
              <a:spcBef>
                <a:spcPts val="100"/>
              </a:spcBef>
              <a:spcAft>
                <a:spcPts val="100"/>
              </a:spcAft>
            </a:pPr>
            <a:r>
              <a:rPr lang="de-DE"/>
              <a:t>Dritte Ebene</a:t>
            </a:r>
          </a:p>
          <a:p>
            <a:pPr lvl="3">
              <a:lnSpc>
                <a:spcPts val="1400"/>
              </a:lnSpc>
              <a:spcBef>
                <a:spcPts val="100"/>
              </a:spcBef>
              <a:spcAft>
                <a:spcPts val="100"/>
              </a:spcAft>
            </a:pPr>
            <a:r>
              <a:rPr lang="de-DE"/>
              <a:t>Vierte Ebene</a:t>
            </a:r>
          </a:p>
          <a:p>
            <a:pPr lvl="4">
              <a:lnSpc>
                <a:spcPts val="1400"/>
              </a:lnSpc>
              <a:spcBef>
                <a:spcPts val="100"/>
              </a:spcBef>
              <a:spcAft>
                <a:spcPts val="100"/>
              </a:spcAft>
            </a:pPr>
            <a:r>
              <a:rPr lang="de-DE"/>
              <a:t>Fünfte Ebene</a:t>
            </a:r>
            <a:endParaRPr lang="en-US" dirty="0"/>
          </a:p>
        </p:txBody>
      </p:sp>
      <p:sp>
        <p:nvSpPr>
          <p:cNvPr id="6" name="name">
            <a:extLst>
              <a:ext uri="{FF2B5EF4-FFF2-40B4-BE49-F238E27FC236}">
                <a16:creationId xmlns:a16="http://schemas.microsoft.com/office/drawing/2014/main" id="{4FD8DC43-2230-29E6-EA6A-D1148AB2ADCC}"/>
              </a:ext>
            </a:extLst>
          </p:cNvPr>
          <p:cNvSpPr>
            <a:spLocks noGrp="1"/>
          </p:cNvSpPr>
          <p:nvPr>
            <p:ph type="body" idx="68"/>
          </p:nvPr>
        </p:nvSpPr>
        <p:spPr>
          <a:xfrm>
            <a:off x="540000" y="1440000"/>
            <a:ext cx="3420000" cy="504000"/>
          </a:xfrm>
        </p:spPr>
        <p:txBody>
          <a:bodyPr lIns="0" rIns="0" anchor="t" anchorCtr="0"/>
          <a:lstStyle>
            <a:lvl1pPr marL="0" indent="0" algn="l">
              <a:lnSpc>
                <a:spcPts val="1800"/>
              </a:lnSpc>
              <a:spcBef>
                <a:spcPts val="0"/>
              </a:spcBef>
              <a:spcAft>
                <a:spcPts val="0"/>
              </a:spcAft>
              <a:buNone/>
              <a:defRPr sz="1400" b="0" cap="all" spc="100" baseline="0">
                <a:gradFill>
                  <a:gsLst>
                    <a:gs pos="0">
                      <a:srgbClr val="FF4B4B"/>
                    </a:gs>
                    <a:gs pos="100000">
                      <a:srgbClr val="FF744F"/>
                    </a:gs>
                  </a:gsLst>
                  <a:lin ang="18900000" scaled="1"/>
                </a:gra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6" name="title">
            <a:extLst>
              <a:ext uri="{FF2B5EF4-FFF2-40B4-BE49-F238E27FC236}">
                <a16:creationId xmlns:a16="http://schemas.microsoft.com/office/drawing/2014/main" id="{C42A5394-0582-37AA-737C-9A22F650EDD4}"/>
              </a:ext>
            </a:extLst>
          </p:cNvPr>
          <p:cNvSpPr>
            <a:spLocks noGrp="1"/>
          </p:cNvSpPr>
          <p:nvPr>
            <p:ph type="title"/>
          </p:nvPr>
        </p:nvSpPr>
        <p:spPr>
          <a:xfrm>
            <a:off x="540000" y="622301"/>
            <a:ext cx="3420000" cy="828000"/>
          </a:xfrm>
        </p:spPr>
        <p:txBody>
          <a:bodyPr vert="horz" anchor="t"/>
          <a:lstStyle/>
          <a:p>
            <a:r>
              <a:rPr lang="de-DE"/>
              <a:t>Mastertitelformat bearbeiten</a:t>
            </a:r>
            <a:endParaRPr lang="en-US"/>
          </a:p>
        </p:txBody>
      </p:sp>
      <p:sp>
        <p:nvSpPr>
          <p:cNvPr id="5" name="navigation">
            <a:extLst>
              <a:ext uri="{FF2B5EF4-FFF2-40B4-BE49-F238E27FC236}">
                <a16:creationId xmlns:a16="http://schemas.microsoft.com/office/drawing/2014/main" id="{E2DB2781-02B7-8F48-880C-0864DAF6A9C6}"/>
              </a:ext>
            </a:extLst>
          </p:cNvPr>
          <p:cNvSpPr>
            <a:spLocks noGrp="1"/>
          </p:cNvSpPr>
          <p:nvPr>
            <p:ph type="body" sz="quarter" idx="14"/>
          </p:nvPr>
        </p:nvSpPr>
        <p:spPr>
          <a:xfrm>
            <a:off x="576000" y="396000"/>
            <a:ext cx="11052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38951315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   049 : team : 2 pictures : 2 names and roles">
    <p:spTree>
      <p:nvGrpSpPr>
        <p:cNvPr id="1" name=""/>
        <p:cNvGrpSpPr/>
        <p:nvPr/>
      </p:nvGrpSpPr>
      <p:grpSpPr>
        <a:xfrm>
          <a:off x="0" y="0"/>
          <a:ext cx="0" cy="0"/>
          <a:chOff x="0" y="0"/>
          <a:chExt cx="0" cy="0"/>
        </a:xfrm>
      </p:grpSpPr>
      <p:sp>
        <p:nvSpPr>
          <p:cNvPr id="10" name="slide number">
            <a:extLst>
              <a:ext uri="{FF2B5EF4-FFF2-40B4-BE49-F238E27FC236}">
                <a16:creationId xmlns:a16="http://schemas.microsoft.com/office/drawing/2014/main" id="{806DED45-4BC7-C6F5-F26F-6CD59EA5B6A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B32839BA-2D56-A01B-FE5C-F161B633535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9" name="date">
            <a:extLst>
              <a:ext uri="{FF2B5EF4-FFF2-40B4-BE49-F238E27FC236}">
                <a16:creationId xmlns:a16="http://schemas.microsoft.com/office/drawing/2014/main" id="{50109232-4643-9278-B176-335653E00909}"/>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3" name="addtext">
            <a:extLst>
              <a:ext uri="{FF2B5EF4-FFF2-40B4-BE49-F238E27FC236}">
                <a16:creationId xmlns:a16="http://schemas.microsoft.com/office/drawing/2014/main" id="{849B6CFB-350C-3F26-0011-94A6E6A3954B}"/>
              </a:ext>
            </a:extLst>
          </p:cNvPr>
          <p:cNvSpPr>
            <a:spLocks noGrp="1"/>
          </p:cNvSpPr>
          <p:nvPr>
            <p:ph type="body" sz="quarter" idx="46"/>
          </p:nvPr>
        </p:nvSpPr>
        <p:spPr>
          <a:xfrm>
            <a:off x="9646450" y="2113699"/>
            <a:ext cx="1980000" cy="4052151"/>
          </a:xfrm>
          <a:noFill/>
        </p:spPr>
        <p:txBody>
          <a:bodyPr vert="horz" lIns="0" tIns="0" rIns="0" bIns="0" rtlCol="0">
            <a:noAutofit/>
          </a:bodyPr>
          <a:lstStyle>
            <a:lvl1pPr>
              <a:defRPr lang="en-US" sz="1200"/>
            </a:lvl1pPr>
            <a:lvl2pPr>
              <a:defRPr lang="en-US" sz="1200"/>
            </a:lvl2pPr>
            <a:lvl3pPr>
              <a:defRPr lang="en-US" sz="1200"/>
            </a:lvl3pPr>
            <a:lvl4pPr>
              <a:defRPr lang="en-US" sz="1200"/>
            </a:lvl4pPr>
            <a:lvl5pPr>
              <a:defRPr lang="en-US" sz="1200"/>
            </a:lvl5pPr>
            <a:lvl6pPr>
              <a:defRPr lang="en-US" sz="1200"/>
            </a:lvl6pPr>
            <a:lvl7pPr>
              <a:defRPr lang="en-US" sz="1200"/>
            </a:lvl7pPr>
            <a:lvl8pPr>
              <a:defRPr lang="en-US" sz="1200"/>
            </a:lvl8pPr>
            <a:lvl9pPr>
              <a:defRPr lang="en-US" sz="1200" dirty="0"/>
            </a:lvl9pPr>
          </a:lstStyle>
          <a:p>
            <a:pPr lvl="0">
              <a:lnSpc>
                <a:spcPts val="1600"/>
              </a:lnSpc>
            </a:pPr>
            <a:r>
              <a:rPr lang="de-DE"/>
              <a:t>Mastertextformat bearbeiten</a:t>
            </a:r>
          </a:p>
        </p:txBody>
      </p:sp>
      <p:sp>
        <p:nvSpPr>
          <p:cNvPr id="18" name="subtilte 3">
            <a:extLst>
              <a:ext uri="{FF2B5EF4-FFF2-40B4-BE49-F238E27FC236}">
                <a16:creationId xmlns:a16="http://schemas.microsoft.com/office/drawing/2014/main" id="{BE659DA4-361D-0068-83B9-84A1D509112C}"/>
              </a:ext>
            </a:extLst>
          </p:cNvPr>
          <p:cNvSpPr>
            <a:spLocks noGrp="1"/>
          </p:cNvSpPr>
          <p:nvPr>
            <p:ph type="body" idx="70"/>
          </p:nvPr>
        </p:nvSpPr>
        <p:spPr>
          <a:xfrm>
            <a:off x="9646450" y="1512000"/>
            <a:ext cx="1994688" cy="360000"/>
          </a:xfrm>
        </p:spPr>
        <p:txBody>
          <a:bodyPr lIns="0" rIns="0" anchor="b" anchorCtr="0"/>
          <a:lstStyle>
            <a:lvl1pPr marL="0" indent="0" algn="l">
              <a:lnSpc>
                <a:spcPts val="1400"/>
              </a:lnSpc>
              <a:spcBef>
                <a:spcPts val="0"/>
              </a:spcBef>
              <a:spcAft>
                <a:spcPts val="0"/>
              </a:spcAft>
              <a:buNone/>
              <a:defRPr sz="1200" b="0" cap="all" spc="100" baseline="0">
                <a:gradFill>
                  <a:gsLst>
                    <a:gs pos="0">
                      <a:srgbClr val="FF4B4B"/>
                    </a:gs>
                    <a:gs pos="100000">
                      <a:srgbClr val="FF744F"/>
                    </a:gs>
                  </a:gsLst>
                  <a:lin ang="18900000" scaled="1"/>
                </a:gra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 name="CV 2 text">
            <a:extLst>
              <a:ext uri="{FF2B5EF4-FFF2-40B4-BE49-F238E27FC236}">
                <a16:creationId xmlns:a16="http://schemas.microsoft.com/office/drawing/2014/main" id="{A82276AA-556D-9F16-87C3-9A3502D09B6F}"/>
              </a:ext>
            </a:extLst>
          </p:cNvPr>
          <p:cNvSpPr>
            <a:spLocks noGrp="1"/>
          </p:cNvSpPr>
          <p:nvPr>
            <p:ph type="body" sz="quarter" idx="69"/>
          </p:nvPr>
        </p:nvSpPr>
        <p:spPr>
          <a:xfrm>
            <a:off x="5110698" y="3780000"/>
            <a:ext cx="4320000" cy="2376000"/>
          </a:xfrm>
        </p:spPr>
        <p:txBody>
          <a:bodyPr lIns="0" rIns="0"/>
          <a:lstStyle>
            <a:lvl1pPr>
              <a:lnSpc>
                <a:spcPts val="1600"/>
              </a:lnSpc>
              <a:spcBef>
                <a:spcPts val="300"/>
              </a:spcBef>
              <a:spcAft>
                <a:spcPts val="300"/>
              </a:spcAft>
              <a:defRPr sz="1200"/>
            </a:lvl1pPr>
            <a:lvl2pPr>
              <a:lnSpc>
                <a:spcPts val="1600"/>
              </a:lnSpc>
              <a:spcBef>
                <a:spcPts val="300"/>
              </a:spcBef>
              <a:spcAft>
                <a:spcPts val="300"/>
              </a:spcAft>
              <a:defRPr sz="1200"/>
            </a:lvl2pPr>
            <a:lvl3pPr>
              <a:lnSpc>
                <a:spcPts val="1600"/>
              </a:lnSpc>
              <a:spcBef>
                <a:spcPts val="300"/>
              </a:spcBef>
              <a:spcAft>
                <a:spcPts val="300"/>
              </a:spcAft>
              <a:defRPr sz="1200"/>
            </a:lvl3pPr>
            <a:lvl4pPr>
              <a:lnSpc>
                <a:spcPts val="1600"/>
              </a:lnSpc>
              <a:spcBef>
                <a:spcPts val="300"/>
              </a:spcBef>
              <a:spcAft>
                <a:spcPts val="300"/>
              </a:spcAft>
              <a:defRPr sz="1200"/>
            </a:lvl4pPr>
            <a:lvl5pPr>
              <a:lnSpc>
                <a:spcPts val="1600"/>
              </a:lnSpc>
              <a:spcBef>
                <a:spcPts val="300"/>
              </a:spcBef>
              <a:spcAft>
                <a:spcPts val="300"/>
              </a:spcAft>
              <a:defRPr sz="1200"/>
            </a:lvl5pPr>
            <a:lvl6pPr>
              <a:lnSpc>
                <a:spcPts val="1600"/>
              </a:lnSpc>
              <a:spcBef>
                <a:spcPts val="300"/>
              </a:spcBef>
              <a:spcAft>
                <a:spcPts val="300"/>
              </a:spcAft>
              <a:defRPr sz="1200"/>
            </a:lvl6pPr>
            <a:lvl7pPr>
              <a:lnSpc>
                <a:spcPts val="1600"/>
              </a:lnSpc>
              <a:spcBef>
                <a:spcPts val="300"/>
              </a:spcBef>
              <a:spcAft>
                <a:spcPts val="300"/>
              </a:spcAft>
              <a:defRPr sz="1200"/>
            </a:lvl7pPr>
            <a:lvl8pPr>
              <a:lnSpc>
                <a:spcPts val="1600"/>
              </a:lnSpc>
              <a:spcBef>
                <a:spcPts val="300"/>
              </a:spcBef>
              <a:spcAft>
                <a:spcPts val="300"/>
              </a:spcAft>
              <a:defRPr sz="1200"/>
            </a:lvl8pPr>
            <a:lvl9pPr>
              <a:lnSpc>
                <a:spcPts val="1600"/>
              </a:lnSpc>
              <a:spcBef>
                <a:spcPts val="300"/>
              </a:spcBef>
              <a:spcAft>
                <a:spcPts val="300"/>
              </a:spcAft>
              <a:defRPr sz="1200"/>
            </a:lvl9pPr>
          </a:lstStyle>
          <a:p>
            <a:pPr lvl="0"/>
            <a:r>
              <a:rPr lang="de-DE"/>
              <a:t>Mastertextformat bearbeiten</a:t>
            </a:r>
          </a:p>
        </p:txBody>
      </p:sp>
      <p:sp>
        <p:nvSpPr>
          <p:cNvPr id="67" name="bg shadow 2">
            <a:extLst>
              <a:ext uri="{FF2B5EF4-FFF2-40B4-BE49-F238E27FC236}">
                <a16:creationId xmlns:a16="http://schemas.microsoft.com/office/drawing/2014/main" id="{D5E34A60-AEFD-CB5F-7F16-E61E1EB95B46}"/>
              </a:ext>
            </a:extLst>
          </p:cNvPr>
          <p:cNvSpPr>
            <a:spLocks noGrp="1"/>
          </p:cNvSpPr>
          <p:nvPr>
            <p:ph type="body" idx="63"/>
          </p:nvPr>
        </p:nvSpPr>
        <p:spPr>
          <a:xfrm>
            <a:off x="5109652" y="2119313"/>
            <a:ext cx="4320000" cy="1439862"/>
          </a:xfrm>
          <a:prstGeom prst="roundRect">
            <a:avLst>
              <a:gd name="adj" fmla="val 5780"/>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68" name="role 2">
            <a:extLst>
              <a:ext uri="{FF2B5EF4-FFF2-40B4-BE49-F238E27FC236}">
                <a16:creationId xmlns:a16="http://schemas.microsoft.com/office/drawing/2014/main" id="{E9030E3B-9B95-4FBF-2233-89490F1AF5B0}"/>
              </a:ext>
            </a:extLst>
          </p:cNvPr>
          <p:cNvSpPr>
            <a:spLocks noGrp="1"/>
          </p:cNvSpPr>
          <p:nvPr>
            <p:ph type="body" idx="64"/>
          </p:nvPr>
        </p:nvSpPr>
        <p:spPr>
          <a:xfrm>
            <a:off x="6704843" y="2839175"/>
            <a:ext cx="2700000" cy="720000"/>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9" name="name 2">
            <a:extLst>
              <a:ext uri="{FF2B5EF4-FFF2-40B4-BE49-F238E27FC236}">
                <a16:creationId xmlns:a16="http://schemas.microsoft.com/office/drawing/2014/main" id="{44161A00-43BE-C269-836D-806038B0D335}"/>
              </a:ext>
            </a:extLst>
          </p:cNvPr>
          <p:cNvSpPr>
            <a:spLocks noGrp="1"/>
          </p:cNvSpPr>
          <p:nvPr>
            <p:ph type="body" idx="65"/>
          </p:nvPr>
        </p:nvSpPr>
        <p:spPr>
          <a:xfrm>
            <a:off x="6704843" y="2129755"/>
            <a:ext cx="2700000" cy="648000"/>
          </a:xfrm>
        </p:spPr>
        <p:txBody>
          <a:bodyPr lIns="144000" rIns="144000" anchor="b" anchorCtr="0"/>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70" name="picture 2">
            <a:extLst>
              <a:ext uri="{FF2B5EF4-FFF2-40B4-BE49-F238E27FC236}">
                <a16:creationId xmlns:a16="http://schemas.microsoft.com/office/drawing/2014/main" id="{15F978E7-316F-2B35-EAB8-3EC1599AEF34}"/>
              </a:ext>
            </a:extLst>
          </p:cNvPr>
          <p:cNvSpPr>
            <a:spLocks noGrp="1"/>
          </p:cNvSpPr>
          <p:nvPr>
            <p:ph type="pic" sz="quarter" idx="66"/>
          </p:nvPr>
        </p:nvSpPr>
        <p:spPr>
          <a:xfrm>
            <a:off x="5112000" y="2120107"/>
            <a:ext cx="1584000" cy="1440000"/>
          </a:xfrm>
          <a:custGeom>
            <a:avLst/>
            <a:gdLst>
              <a:gd name="connsiteX0" fmla="*/ 0 w 1584000"/>
              <a:gd name="connsiteY0" fmla="*/ 125712 h 1440000"/>
              <a:gd name="connsiteX1" fmla="*/ 125712 w 1584000"/>
              <a:gd name="connsiteY1" fmla="*/ 0 h 1440000"/>
              <a:gd name="connsiteX2" fmla="*/ 1458288 w 1584000"/>
              <a:gd name="connsiteY2" fmla="*/ 0 h 1440000"/>
              <a:gd name="connsiteX3" fmla="*/ 1584000 w 1584000"/>
              <a:gd name="connsiteY3" fmla="*/ 125712 h 1440000"/>
              <a:gd name="connsiteX4" fmla="*/ 1584000 w 1584000"/>
              <a:gd name="connsiteY4" fmla="*/ 1314288 h 1440000"/>
              <a:gd name="connsiteX5" fmla="*/ 1458288 w 1584000"/>
              <a:gd name="connsiteY5" fmla="*/ 1440000 h 1440000"/>
              <a:gd name="connsiteX6" fmla="*/ 125712 w 1584000"/>
              <a:gd name="connsiteY6" fmla="*/ 1440000 h 1440000"/>
              <a:gd name="connsiteX7" fmla="*/ 0 w 1584000"/>
              <a:gd name="connsiteY7" fmla="*/ 1314288 h 1440000"/>
              <a:gd name="connsiteX8" fmla="*/ 0 w 1584000"/>
              <a:gd name="connsiteY8" fmla="*/ 125712 h 1440000"/>
              <a:gd name="connsiteX0" fmla="*/ 0 w 1612314"/>
              <a:gd name="connsiteY0" fmla="*/ 125712 h 1440000"/>
              <a:gd name="connsiteX1" fmla="*/ 125712 w 1612314"/>
              <a:gd name="connsiteY1" fmla="*/ 0 h 1440000"/>
              <a:gd name="connsiteX2" fmla="*/ 1458288 w 1612314"/>
              <a:gd name="connsiteY2" fmla="*/ 0 h 1440000"/>
              <a:gd name="connsiteX3" fmla="*/ 1584000 w 1612314"/>
              <a:gd name="connsiteY3" fmla="*/ 1314288 h 1440000"/>
              <a:gd name="connsiteX4" fmla="*/ 1458288 w 1612314"/>
              <a:gd name="connsiteY4" fmla="*/ 1440000 h 1440000"/>
              <a:gd name="connsiteX5" fmla="*/ 125712 w 1612314"/>
              <a:gd name="connsiteY5" fmla="*/ 1440000 h 1440000"/>
              <a:gd name="connsiteX6" fmla="*/ 0 w 1612314"/>
              <a:gd name="connsiteY6" fmla="*/ 1314288 h 1440000"/>
              <a:gd name="connsiteX7" fmla="*/ 0 w 1612314"/>
              <a:gd name="connsiteY7" fmla="*/ 125712 h 1440000"/>
              <a:gd name="connsiteX0" fmla="*/ 0 w 1624860"/>
              <a:gd name="connsiteY0" fmla="*/ 125712 h 1440000"/>
              <a:gd name="connsiteX1" fmla="*/ 125712 w 1624860"/>
              <a:gd name="connsiteY1" fmla="*/ 0 h 1440000"/>
              <a:gd name="connsiteX2" fmla="*/ 1458288 w 1624860"/>
              <a:gd name="connsiteY2" fmla="*/ 0 h 1440000"/>
              <a:gd name="connsiteX3" fmla="*/ 1458288 w 1624860"/>
              <a:gd name="connsiteY3" fmla="*/ 1440000 h 1440000"/>
              <a:gd name="connsiteX4" fmla="*/ 125712 w 1624860"/>
              <a:gd name="connsiteY4" fmla="*/ 1440000 h 1440000"/>
              <a:gd name="connsiteX5" fmla="*/ 0 w 1624860"/>
              <a:gd name="connsiteY5" fmla="*/ 1314288 h 1440000"/>
              <a:gd name="connsiteX6" fmla="*/ 0 w 1624860"/>
              <a:gd name="connsiteY6" fmla="*/ 125712 h 1440000"/>
              <a:gd name="connsiteX0" fmla="*/ 0 w 1666043"/>
              <a:gd name="connsiteY0" fmla="*/ 125712 h 1440000"/>
              <a:gd name="connsiteX1" fmla="*/ 125712 w 1666043"/>
              <a:gd name="connsiteY1" fmla="*/ 0 h 1440000"/>
              <a:gd name="connsiteX2" fmla="*/ 1458288 w 1666043"/>
              <a:gd name="connsiteY2" fmla="*/ 0 h 1440000"/>
              <a:gd name="connsiteX3" fmla="*/ 1458288 w 1666043"/>
              <a:gd name="connsiteY3" fmla="*/ 1440000 h 1440000"/>
              <a:gd name="connsiteX4" fmla="*/ 125712 w 1666043"/>
              <a:gd name="connsiteY4" fmla="*/ 1440000 h 1440000"/>
              <a:gd name="connsiteX5" fmla="*/ 0 w 1666043"/>
              <a:gd name="connsiteY5" fmla="*/ 1314288 h 1440000"/>
              <a:gd name="connsiteX6" fmla="*/ 0 w 1666043"/>
              <a:gd name="connsiteY6" fmla="*/ 125712 h 1440000"/>
              <a:gd name="connsiteX0" fmla="*/ 0 w 1714742"/>
              <a:gd name="connsiteY0" fmla="*/ 125712 h 1440000"/>
              <a:gd name="connsiteX1" fmla="*/ 125712 w 1714742"/>
              <a:gd name="connsiteY1" fmla="*/ 0 h 1440000"/>
              <a:gd name="connsiteX2" fmla="*/ 1458288 w 1714742"/>
              <a:gd name="connsiteY2" fmla="*/ 0 h 1440000"/>
              <a:gd name="connsiteX3" fmla="*/ 1458288 w 1714742"/>
              <a:gd name="connsiteY3" fmla="*/ 1440000 h 1440000"/>
              <a:gd name="connsiteX4" fmla="*/ 125712 w 1714742"/>
              <a:gd name="connsiteY4" fmla="*/ 1440000 h 1440000"/>
              <a:gd name="connsiteX5" fmla="*/ 0 w 1714742"/>
              <a:gd name="connsiteY5" fmla="*/ 1314288 h 1440000"/>
              <a:gd name="connsiteX6" fmla="*/ 0 w 1714742"/>
              <a:gd name="connsiteY6" fmla="*/ 125712 h 1440000"/>
              <a:gd name="connsiteX0" fmla="*/ 0 w 1556997"/>
              <a:gd name="connsiteY0" fmla="*/ 125712 h 1440000"/>
              <a:gd name="connsiteX1" fmla="*/ 125712 w 1556997"/>
              <a:gd name="connsiteY1" fmla="*/ 0 h 1440000"/>
              <a:gd name="connsiteX2" fmla="*/ 1458288 w 1556997"/>
              <a:gd name="connsiteY2" fmla="*/ 0 h 1440000"/>
              <a:gd name="connsiteX3" fmla="*/ 1458288 w 1556997"/>
              <a:gd name="connsiteY3" fmla="*/ 1440000 h 1440000"/>
              <a:gd name="connsiteX4" fmla="*/ 125712 w 1556997"/>
              <a:gd name="connsiteY4" fmla="*/ 1440000 h 1440000"/>
              <a:gd name="connsiteX5" fmla="*/ 0 w 1556997"/>
              <a:gd name="connsiteY5" fmla="*/ 1314288 h 1440000"/>
              <a:gd name="connsiteX6" fmla="*/ 0 w 1556997"/>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125712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81867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288" h="1440000">
                <a:moveTo>
                  <a:pt x="0" y="125712"/>
                </a:moveTo>
                <a:cubicBezTo>
                  <a:pt x="0" y="56283"/>
                  <a:pt x="12438" y="0"/>
                  <a:pt x="81867" y="0"/>
                </a:cubicBezTo>
                <a:lnTo>
                  <a:pt x="1458288" y="0"/>
                </a:lnTo>
                <a:lnTo>
                  <a:pt x="1458288" y="1440000"/>
                </a:lnTo>
                <a:lnTo>
                  <a:pt x="75290" y="1440000"/>
                </a:lnTo>
                <a:cubicBezTo>
                  <a:pt x="5861" y="1440000"/>
                  <a:pt x="0" y="1383717"/>
                  <a:pt x="0" y="1314288"/>
                </a:cubicBezTo>
                <a:lnTo>
                  <a:pt x="0" y="125712"/>
                </a:lnTo>
                <a:close/>
              </a:path>
            </a:pathLst>
          </a:custGeom>
          <a:solidFill>
            <a:schemeClr val="bg1"/>
          </a:solidFill>
          <a:effectLst/>
        </p:spPr>
        <p:txBody>
          <a:bodyPr/>
          <a:lstStyle>
            <a:lvl1pPr>
              <a:defRPr lang="en-DE" dirty="0"/>
            </a:lvl1pPr>
          </a:lstStyle>
          <a:p>
            <a:r>
              <a:rPr lang="de-DE"/>
              <a:t>Bild durch Klicken auf Symbol hinzufügen</a:t>
            </a:r>
            <a:endParaRPr lang="en-DE" dirty="0"/>
          </a:p>
        </p:txBody>
      </p:sp>
      <p:sp>
        <p:nvSpPr>
          <p:cNvPr id="3" name="subtilte 2">
            <a:extLst>
              <a:ext uri="{FF2B5EF4-FFF2-40B4-BE49-F238E27FC236}">
                <a16:creationId xmlns:a16="http://schemas.microsoft.com/office/drawing/2014/main" id="{8BED4AE3-69E6-C919-F264-88E9828D555F}"/>
              </a:ext>
            </a:extLst>
          </p:cNvPr>
          <p:cNvSpPr>
            <a:spLocks noGrp="1"/>
          </p:cNvSpPr>
          <p:nvPr>
            <p:ph type="body" idx="68"/>
          </p:nvPr>
        </p:nvSpPr>
        <p:spPr>
          <a:xfrm>
            <a:off x="5112000" y="1512000"/>
            <a:ext cx="4320000" cy="360000"/>
          </a:xfrm>
        </p:spPr>
        <p:txBody>
          <a:bodyPr lIns="0" rIns="0" anchor="b" anchorCtr="0"/>
          <a:lstStyle>
            <a:lvl1pPr marL="0" indent="0" algn="l">
              <a:lnSpc>
                <a:spcPts val="1400"/>
              </a:lnSpc>
              <a:spcBef>
                <a:spcPts val="0"/>
              </a:spcBef>
              <a:spcAft>
                <a:spcPts val="0"/>
              </a:spcAft>
              <a:buNone/>
              <a:defRPr sz="1200" b="0" cap="all" spc="100" baseline="0">
                <a:gradFill>
                  <a:gsLst>
                    <a:gs pos="0">
                      <a:srgbClr val="FF4B4B"/>
                    </a:gs>
                    <a:gs pos="100000">
                      <a:srgbClr val="FF744F"/>
                    </a:gs>
                  </a:gsLst>
                  <a:lin ang="18900000" scaled="1"/>
                </a:gra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5" name="CV 1 text">
            <a:extLst>
              <a:ext uri="{FF2B5EF4-FFF2-40B4-BE49-F238E27FC236}">
                <a16:creationId xmlns:a16="http://schemas.microsoft.com/office/drawing/2014/main" id="{907A54C3-A2FF-A59E-41B3-23D2F7C1E59E}"/>
              </a:ext>
            </a:extLst>
          </p:cNvPr>
          <p:cNvSpPr>
            <a:spLocks noGrp="1"/>
          </p:cNvSpPr>
          <p:nvPr>
            <p:ph type="body" sz="quarter" idx="24"/>
          </p:nvPr>
        </p:nvSpPr>
        <p:spPr>
          <a:xfrm>
            <a:off x="576000" y="3780000"/>
            <a:ext cx="4320000" cy="2376000"/>
          </a:xfrm>
        </p:spPr>
        <p:txBody>
          <a:bodyPr lIns="0" rIns="0"/>
          <a:lstStyle>
            <a:lvl1pPr>
              <a:lnSpc>
                <a:spcPts val="1600"/>
              </a:lnSpc>
              <a:spcBef>
                <a:spcPts val="300"/>
              </a:spcBef>
              <a:spcAft>
                <a:spcPts val="300"/>
              </a:spcAft>
              <a:defRPr sz="1200"/>
            </a:lvl1pPr>
            <a:lvl2pPr>
              <a:lnSpc>
                <a:spcPts val="1600"/>
              </a:lnSpc>
              <a:spcBef>
                <a:spcPts val="300"/>
              </a:spcBef>
              <a:spcAft>
                <a:spcPts val="300"/>
              </a:spcAft>
              <a:defRPr sz="1200"/>
            </a:lvl2pPr>
            <a:lvl3pPr>
              <a:lnSpc>
                <a:spcPts val="1600"/>
              </a:lnSpc>
              <a:spcBef>
                <a:spcPts val="300"/>
              </a:spcBef>
              <a:spcAft>
                <a:spcPts val="300"/>
              </a:spcAft>
              <a:defRPr sz="1200"/>
            </a:lvl3pPr>
            <a:lvl4pPr>
              <a:lnSpc>
                <a:spcPts val="1600"/>
              </a:lnSpc>
              <a:spcBef>
                <a:spcPts val="300"/>
              </a:spcBef>
              <a:spcAft>
                <a:spcPts val="300"/>
              </a:spcAft>
              <a:defRPr sz="1200"/>
            </a:lvl4pPr>
            <a:lvl5pPr>
              <a:lnSpc>
                <a:spcPts val="1600"/>
              </a:lnSpc>
              <a:spcBef>
                <a:spcPts val="300"/>
              </a:spcBef>
              <a:spcAft>
                <a:spcPts val="300"/>
              </a:spcAft>
              <a:defRPr sz="1200"/>
            </a:lvl5pPr>
            <a:lvl6pPr>
              <a:lnSpc>
                <a:spcPts val="1600"/>
              </a:lnSpc>
              <a:spcBef>
                <a:spcPts val="300"/>
              </a:spcBef>
              <a:spcAft>
                <a:spcPts val="300"/>
              </a:spcAft>
              <a:defRPr sz="1200"/>
            </a:lvl6pPr>
            <a:lvl7pPr>
              <a:lnSpc>
                <a:spcPts val="1600"/>
              </a:lnSpc>
              <a:spcBef>
                <a:spcPts val="300"/>
              </a:spcBef>
              <a:spcAft>
                <a:spcPts val="300"/>
              </a:spcAft>
              <a:defRPr sz="1200"/>
            </a:lvl7pPr>
            <a:lvl8pPr>
              <a:lnSpc>
                <a:spcPts val="1600"/>
              </a:lnSpc>
              <a:spcBef>
                <a:spcPts val="300"/>
              </a:spcBef>
              <a:spcAft>
                <a:spcPts val="300"/>
              </a:spcAft>
              <a:defRPr sz="1200"/>
            </a:lvl8pPr>
            <a:lvl9pPr>
              <a:lnSpc>
                <a:spcPts val="1600"/>
              </a:lnSpc>
              <a:spcBef>
                <a:spcPts val="300"/>
              </a:spcBef>
              <a:spcAft>
                <a:spcPts val="300"/>
              </a:spcAft>
              <a:defRPr sz="1200"/>
            </a:lvl9pPr>
          </a:lstStyle>
          <a:p>
            <a:pPr lvl="0"/>
            <a:r>
              <a:rPr lang="de-DE"/>
              <a:t>Mastertextformat bearbeiten</a:t>
            </a:r>
          </a:p>
        </p:txBody>
      </p:sp>
      <p:sp>
        <p:nvSpPr>
          <p:cNvPr id="55" name="bg shadow 1">
            <a:extLst>
              <a:ext uri="{FF2B5EF4-FFF2-40B4-BE49-F238E27FC236}">
                <a16:creationId xmlns:a16="http://schemas.microsoft.com/office/drawing/2014/main" id="{83DA22D8-9131-568E-6E2F-B7A56687533C}"/>
              </a:ext>
            </a:extLst>
          </p:cNvPr>
          <p:cNvSpPr>
            <a:spLocks noGrp="1"/>
          </p:cNvSpPr>
          <p:nvPr>
            <p:ph type="body" idx="51"/>
          </p:nvPr>
        </p:nvSpPr>
        <p:spPr>
          <a:xfrm>
            <a:off x="542100" y="2119313"/>
            <a:ext cx="4320000" cy="1439862"/>
          </a:xfrm>
          <a:prstGeom prst="roundRect">
            <a:avLst>
              <a:gd name="adj" fmla="val 5780"/>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56" name="role 1">
            <a:extLst>
              <a:ext uri="{FF2B5EF4-FFF2-40B4-BE49-F238E27FC236}">
                <a16:creationId xmlns:a16="http://schemas.microsoft.com/office/drawing/2014/main" id="{4BDE1970-44C9-ADD3-EE45-3879EA6103C9}"/>
              </a:ext>
            </a:extLst>
          </p:cNvPr>
          <p:cNvSpPr>
            <a:spLocks noGrp="1"/>
          </p:cNvSpPr>
          <p:nvPr>
            <p:ph type="body" idx="52"/>
          </p:nvPr>
        </p:nvSpPr>
        <p:spPr>
          <a:xfrm>
            <a:off x="2130148" y="2839175"/>
            <a:ext cx="2700000" cy="720000"/>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7" name="name 1">
            <a:extLst>
              <a:ext uri="{FF2B5EF4-FFF2-40B4-BE49-F238E27FC236}">
                <a16:creationId xmlns:a16="http://schemas.microsoft.com/office/drawing/2014/main" id="{9C57D439-9620-24B8-87D8-5D3533B43D0E}"/>
              </a:ext>
            </a:extLst>
          </p:cNvPr>
          <p:cNvSpPr>
            <a:spLocks noGrp="1"/>
          </p:cNvSpPr>
          <p:nvPr>
            <p:ph type="body" idx="53"/>
          </p:nvPr>
        </p:nvSpPr>
        <p:spPr>
          <a:xfrm>
            <a:off x="2130148" y="2129755"/>
            <a:ext cx="2700000" cy="648000"/>
          </a:xfrm>
        </p:spPr>
        <p:txBody>
          <a:bodyPr lIns="144000" rIns="144000" anchor="b" anchorCtr="0"/>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8" name="picture 1">
            <a:extLst>
              <a:ext uri="{FF2B5EF4-FFF2-40B4-BE49-F238E27FC236}">
                <a16:creationId xmlns:a16="http://schemas.microsoft.com/office/drawing/2014/main" id="{9FBEFBBA-35B6-CE98-58D2-8F96D15F6FF4}"/>
              </a:ext>
            </a:extLst>
          </p:cNvPr>
          <p:cNvSpPr>
            <a:spLocks noGrp="1"/>
          </p:cNvSpPr>
          <p:nvPr>
            <p:ph type="pic" sz="quarter" idx="54"/>
          </p:nvPr>
        </p:nvSpPr>
        <p:spPr>
          <a:xfrm>
            <a:off x="540000" y="2120107"/>
            <a:ext cx="1584000" cy="1440000"/>
          </a:xfrm>
          <a:custGeom>
            <a:avLst/>
            <a:gdLst>
              <a:gd name="connsiteX0" fmla="*/ 0 w 1584000"/>
              <a:gd name="connsiteY0" fmla="*/ 125712 h 1440000"/>
              <a:gd name="connsiteX1" fmla="*/ 125712 w 1584000"/>
              <a:gd name="connsiteY1" fmla="*/ 0 h 1440000"/>
              <a:gd name="connsiteX2" fmla="*/ 1458288 w 1584000"/>
              <a:gd name="connsiteY2" fmla="*/ 0 h 1440000"/>
              <a:gd name="connsiteX3" fmla="*/ 1584000 w 1584000"/>
              <a:gd name="connsiteY3" fmla="*/ 125712 h 1440000"/>
              <a:gd name="connsiteX4" fmla="*/ 1584000 w 1584000"/>
              <a:gd name="connsiteY4" fmla="*/ 1314288 h 1440000"/>
              <a:gd name="connsiteX5" fmla="*/ 1458288 w 1584000"/>
              <a:gd name="connsiteY5" fmla="*/ 1440000 h 1440000"/>
              <a:gd name="connsiteX6" fmla="*/ 125712 w 1584000"/>
              <a:gd name="connsiteY6" fmla="*/ 1440000 h 1440000"/>
              <a:gd name="connsiteX7" fmla="*/ 0 w 1584000"/>
              <a:gd name="connsiteY7" fmla="*/ 1314288 h 1440000"/>
              <a:gd name="connsiteX8" fmla="*/ 0 w 1584000"/>
              <a:gd name="connsiteY8" fmla="*/ 125712 h 1440000"/>
              <a:gd name="connsiteX0" fmla="*/ 0 w 1612314"/>
              <a:gd name="connsiteY0" fmla="*/ 125712 h 1440000"/>
              <a:gd name="connsiteX1" fmla="*/ 125712 w 1612314"/>
              <a:gd name="connsiteY1" fmla="*/ 0 h 1440000"/>
              <a:gd name="connsiteX2" fmla="*/ 1458288 w 1612314"/>
              <a:gd name="connsiteY2" fmla="*/ 0 h 1440000"/>
              <a:gd name="connsiteX3" fmla="*/ 1584000 w 1612314"/>
              <a:gd name="connsiteY3" fmla="*/ 1314288 h 1440000"/>
              <a:gd name="connsiteX4" fmla="*/ 1458288 w 1612314"/>
              <a:gd name="connsiteY4" fmla="*/ 1440000 h 1440000"/>
              <a:gd name="connsiteX5" fmla="*/ 125712 w 1612314"/>
              <a:gd name="connsiteY5" fmla="*/ 1440000 h 1440000"/>
              <a:gd name="connsiteX6" fmla="*/ 0 w 1612314"/>
              <a:gd name="connsiteY6" fmla="*/ 1314288 h 1440000"/>
              <a:gd name="connsiteX7" fmla="*/ 0 w 1612314"/>
              <a:gd name="connsiteY7" fmla="*/ 125712 h 1440000"/>
              <a:gd name="connsiteX0" fmla="*/ 0 w 1624860"/>
              <a:gd name="connsiteY0" fmla="*/ 125712 h 1440000"/>
              <a:gd name="connsiteX1" fmla="*/ 125712 w 1624860"/>
              <a:gd name="connsiteY1" fmla="*/ 0 h 1440000"/>
              <a:gd name="connsiteX2" fmla="*/ 1458288 w 1624860"/>
              <a:gd name="connsiteY2" fmla="*/ 0 h 1440000"/>
              <a:gd name="connsiteX3" fmla="*/ 1458288 w 1624860"/>
              <a:gd name="connsiteY3" fmla="*/ 1440000 h 1440000"/>
              <a:gd name="connsiteX4" fmla="*/ 125712 w 1624860"/>
              <a:gd name="connsiteY4" fmla="*/ 1440000 h 1440000"/>
              <a:gd name="connsiteX5" fmla="*/ 0 w 1624860"/>
              <a:gd name="connsiteY5" fmla="*/ 1314288 h 1440000"/>
              <a:gd name="connsiteX6" fmla="*/ 0 w 1624860"/>
              <a:gd name="connsiteY6" fmla="*/ 125712 h 1440000"/>
              <a:gd name="connsiteX0" fmla="*/ 0 w 1666043"/>
              <a:gd name="connsiteY0" fmla="*/ 125712 h 1440000"/>
              <a:gd name="connsiteX1" fmla="*/ 125712 w 1666043"/>
              <a:gd name="connsiteY1" fmla="*/ 0 h 1440000"/>
              <a:gd name="connsiteX2" fmla="*/ 1458288 w 1666043"/>
              <a:gd name="connsiteY2" fmla="*/ 0 h 1440000"/>
              <a:gd name="connsiteX3" fmla="*/ 1458288 w 1666043"/>
              <a:gd name="connsiteY3" fmla="*/ 1440000 h 1440000"/>
              <a:gd name="connsiteX4" fmla="*/ 125712 w 1666043"/>
              <a:gd name="connsiteY4" fmla="*/ 1440000 h 1440000"/>
              <a:gd name="connsiteX5" fmla="*/ 0 w 1666043"/>
              <a:gd name="connsiteY5" fmla="*/ 1314288 h 1440000"/>
              <a:gd name="connsiteX6" fmla="*/ 0 w 1666043"/>
              <a:gd name="connsiteY6" fmla="*/ 125712 h 1440000"/>
              <a:gd name="connsiteX0" fmla="*/ 0 w 1714742"/>
              <a:gd name="connsiteY0" fmla="*/ 125712 h 1440000"/>
              <a:gd name="connsiteX1" fmla="*/ 125712 w 1714742"/>
              <a:gd name="connsiteY1" fmla="*/ 0 h 1440000"/>
              <a:gd name="connsiteX2" fmla="*/ 1458288 w 1714742"/>
              <a:gd name="connsiteY2" fmla="*/ 0 h 1440000"/>
              <a:gd name="connsiteX3" fmla="*/ 1458288 w 1714742"/>
              <a:gd name="connsiteY3" fmla="*/ 1440000 h 1440000"/>
              <a:gd name="connsiteX4" fmla="*/ 125712 w 1714742"/>
              <a:gd name="connsiteY4" fmla="*/ 1440000 h 1440000"/>
              <a:gd name="connsiteX5" fmla="*/ 0 w 1714742"/>
              <a:gd name="connsiteY5" fmla="*/ 1314288 h 1440000"/>
              <a:gd name="connsiteX6" fmla="*/ 0 w 1714742"/>
              <a:gd name="connsiteY6" fmla="*/ 125712 h 1440000"/>
              <a:gd name="connsiteX0" fmla="*/ 0 w 1556997"/>
              <a:gd name="connsiteY0" fmla="*/ 125712 h 1440000"/>
              <a:gd name="connsiteX1" fmla="*/ 125712 w 1556997"/>
              <a:gd name="connsiteY1" fmla="*/ 0 h 1440000"/>
              <a:gd name="connsiteX2" fmla="*/ 1458288 w 1556997"/>
              <a:gd name="connsiteY2" fmla="*/ 0 h 1440000"/>
              <a:gd name="connsiteX3" fmla="*/ 1458288 w 1556997"/>
              <a:gd name="connsiteY3" fmla="*/ 1440000 h 1440000"/>
              <a:gd name="connsiteX4" fmla="*/ 125712 w 1556997"/>
              <a:gd name="connsiteY4" fmla="*/ 1440000 h 1440000"/>
              <a:gd name="connsiteX5" fmla="*/ 0 w 1556997"/>
              <a:gd name="connsiteY5" fmla="*/ 1314288 h 1440000"/>
              <a:gd name="connsiteX6" fmla="*/ 0 w 1556997"/>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125712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81867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288" h="1440000">
                <a:moveTo>
                  <a:pt x="0" y="125712"/>
                </a:moveTo>
                <a:cubicBezTo>
                  <a:pt x="0" y="56283"/>
                  <a:pt x="12438" y="0"/>
                  <a:pt x="81867" y="0"/>
                </a:cubicBezTo>
                <a:lnTo>
                  <a:pt x="1458288" y="0"/>
                </a:lnTo>
                <a:lnTo>
                  <a:pt x="1458288" y="1440000"/>
                </a:lnTo>
                <a:lnTo>
                  <a:pt x="75290" y="1440000"/>
                </a:lnTo>
                <a:cubicBezTo>
                  <a:pt x="5861" y="1440000"/>
                  <a:pt x="0" y="1383717"/>
                  <a:pt x="0" y="1314288"/>
                </a:cubicBezTo>
                <a:lnTo>
                  <a:pt x="0" y="125712"/>
                </a:lnTo>
                <a:close/>
              </a:path>
            </a:pathLst>
          </a:custGeom>
          <a:solidFill>
            <a:schemeClr val="bg1"/>
          </a:solidFill>
          <a:effectLst/>
        </p:spPr>
        <p:txBody>
          <a:bodyPr/>
          <a:lstStyle>
            <a:lvl1pPr>
              <a:defRPr lang="en-DE" dirty="0"/>
            </a:lvl1pPr>
          </a:lstStyle>
          <a:p>
            <a:r>
              <a:rPr lang="de-DE"/>
              <a:t>Bild durch Klicken auf Symbol hinzufügen</a:t>
            </a:r>
            <a:endParaRPr lang="en-DE" dirty="0"/>
          </a:p>
        </p:txBody>
      </p:sp>
      <p:sp>
        <p:nvSpPr>
          <p:cNvPr id="2" name="subtitle 1">
            <a:extLst>
              <a:ext uri="{FF2B5EF4-FFF2-40B4-BE49-F238E27FC236}">
                <a16:creationId xmlns:a16="http://schemas.microsoft.com/office/drawing/2014/main" id="{E1C428F9-ED39-3296-3569-1B7720A02641}"/>
              </a:ext>
            </a:extLst>
          </p:cNvPr>
          <p:cNvSpPr>
            <a:spLocks noGrp="1"/>
          </p:cNvSpPr>
          <p:nvPr>
            <p:ph type="body" idx="67"/>
          </p:nvPr>
        </p:nvSpPr>
        <p:spPr>
          <a:xfrm>
            <a:off x="540000" y="1512000"/>
            <a:ext cx="4320000" cy="360000"/>
          </a:xfrm>
        </p:spPr>
        <p:txBody>
          <a:bodyPr lIns="0" rIns="0" anchor="b" anchorCtr="0"/>
          <a:lstStyle>
            <a:lvl1pPr marL="0" indent="0" algn="l">
              <a:lnSpc>
                <a:spcPts val="1400"/>
              </a:lnSpc>
              <a:spcBef>
                <a:spcPts val="0"/>
              </a:spcBef>
              <a:spcAft>
                <a:spcPts val="0"/>
              </a:spcAft>
              <a:buNone/>
              <a:defRPr sz="1200" b="0" cap="all" spc="100" baseline="0">
                <a:gradFill>
                  <a:gsLst>
                    <a:gs pos="0">
                      <a:srgbClr val="FF4B4B"/>
                    </a:gs>
                    <a:gs pos="100000">
                      <a:srgbClr val="FF744F"/>
                    </a:gs>
                  </a:gsLst>
                  <a:lin ang="18900000" scaled="1"/>
                </a:gra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7" name="title">
            <a:extLst>
              <a:ext uri="{FF2B5EF4-FFF2-40B4-BE49-F238E27FC236}">
                <a16:creationId xmlns:a16="http://schemas.microsoft.com/office/drawing/2014/main" id="{4E344807-457D-3CED-9971-F478B70A69F3}"/>
              </a:ext>
            </a:extLst>
          </p:cNvPr>
          <p:cNvSpPr>
            <a:spLocks noGrp="1"/>
          </p:cNvSpPr>
          <p:nvPr>
            <p:ph type="title"/>
          </p:nvPr>
        </p:nvSpPr>
        <p:spPr/>
        <p:txBody>
          <a:bodyPr vert="horz"/>
          <a:lstStyle/>
          <a:p>
            <a:r>
              <a:rPr lang="de-DE"/>
              <a:t>Mastertitelformat bearbeiten</a:t>
            </a:r>
            <a:endParaRPr lang="en-US"/>
          </a:p>
        </p:txBody>
      </p:sp>
      <p:sp>
        <p:nvSpPr>
          <p:cNvPr id="4" name="navigation">
            <a:extLst>
              <a:ext uri="{FF2B5EF4-FFF2-40B4-BE49-F238E27FC236}">
                <a16:creationId xmlns:a16="http://schemas.microsoft.com/office/drawing/2014/main" id="{3CCF9C9E-CC68-9C72-1637-DC78701B6BD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156063409"/>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  049 : team : 3 pictures : 3 names and roles">
    <p:spTree>
      <p:nvGrpSpPr>
        <p:cNvPr id="1" name=""/>
        <p:cNvGrpSpPr/>
        <p:nvPr/>
      </p:nvGrpSpPr>
      <p:grpSpPr>
        <a:xfrm>
          <a:off x="0" y="0"/>
          <a:ext cx="0" cy="0"/>
          <a:chOff x="0" y="0"/>
          <a:chExt cx="0" cy="0"/>
        </a:xfrm>
      </p:grpSpPr>
      <p:sp>
        <p:nvSpPr>
          <p:cNvPr id="18" name="shape">
            <a:extLst>
              <a:ext uri="{FF2B5EF4-FFF2-40B4-BE49-F238E27FC236}">
                <a16:creationId xmlns:a16="http://schemas.microsoft.com/office/drawing/2014/main" id="{FE8AD4AF-536E-EE81-A96B-29B63B211164}"/>
              </a:ext>
            </a:extLst>
          </p:cNvPr>
          <p:cNvSpPr/>
          <p:nvPr/>
        </p:nvSpPr>
        <p:spPr>
          <a:xfrm>
            <a:off x="6979913" y="0"/>
            <a:ext cx="5212086" cy="6858000"/>
          </a:xfrm>
          <a:custGeom>
            <a:avLst/>
            <a:gdLst>
              <a:gd name="connsiteX0" fmla="*/ 3272796 w 5212086"/>
              <a:gd name="connsiteY0" fmla="*/ 6858000 h 6858000"/>
              <a:gd name="connsiteX1" fmla="*/ 3187706 w 5212086"/>
              <a:gd name="connsiteY1" fmla="*/ 6630670 h 6858000"/>
              <a:gd name="connsiteX2" fmla="*/ 1892306 w 5212086"/>
              <a:gd name="connsiteY2" fmla="*/ 5591810 h 6858000"/>
              <a:gd name="connsiteX3" fmla="*/ 1892306 w 5212086"/>
              <a:gd name="connsiteY3" fmla="*/ 5591810 h 6858000"/>
              <a:gd name="connsiteX4" fmla="*/ 6 w 5212086"/>
              <a:gd name="connsiteY4" fmla="*/ 3322320 h 6858000"/>
              <a:gd name="connsiteX5" fmla="*/ 839476 w 5212086"/>
              <a:gd name="connsiteY5" fmla="*/ 1554480 h 6858000"/>
              <a:gd name="connsiteX6" fmla="*/ 839476 w 5212086"/>
              <a:gd name="connsiteY6" fmla="*/ 1554480 h 6858000"/>
              <a:gd name="connsiteX7" fmla="*/ 840746 w 5212086"/>
              <a:gd name="connsiteY7" fmla="*/ 1553210 h 6858000"/>
              <a:gd name="connsiteX8" fmla="*/ 843286 w 5212086"/>
              <a:gd name="connsiteY8" fmla="*/ 1550670 h 6858000"/>
              <a:gd name="connsiteX9" fmla="*/ 1903736 w 5212086"/>
              <a:gd name="connsiteY9" fmla="*/ 0 h 6858000"/>
              <a:gd name="connsiteX10" fmla="*/ 5212086 w 5212086"/>
              <a:gd name="connsiteY10" fmla="*/ 0 h 6858000"/>
              <a:gd name="connsiteX11" fmla="*/ 5212086 w 5212086"/>
              <a:gd name="connsiteY11" fmla="*/ 6858000 h 6858000"/>
              <a:gd name="connsiteX12" fmla="*/ 3272796 w 521208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2086" h="6858000">
                <a:moveTo>
                  <a:pt x="3272796" y="6858000"/>
                </a:moveTo>
                <a:cubicBezTo>
                  <a:pt x="3239776" y="6784340"/>
                  <a:pt x="3210567" y="6708140"/>
                  <a:pt x="3187706" y="6630670"/>
                </a:cubicBezTo>
                <a:cubicBezTo>
                  <a:pt x="2983236" y="5951220"/>
                  <a:pt x="2824486" y="5759450"/>
                  <a:pt x="1892306" y="5591810"/>
                </a:cubicBezTo>
                <a:lnTo>
                  <a:pt x="1892306" y="5591810"/>
                </a:lnTo>
                <a:cubicBezTo>
                  <a:pt x="814076" y="5398770"/>
                  <a:pt x="-2533" y="4456430"/>
                  <a:pt x="6" y="3322320"/>
                </a:cubicBezTo>
                <a:cubicBezTo>
                  <a:pt x="2546" y="2609850"/>
                  <a:pt x="328936" y="1974850"/>
                  <a:pt x="839476" y="1554480"/>
                </a:cubicBezTo>
                <a:lnTo>
                  <a:pt x="839476" y="1554480"/>
                </a:lnTo>
                <a:cubicBezTo>
                  <a:pt x="839476" y="1554480"/>
                  <a:pt x="840746" y="1554480"/>
                  <a:pt x="840746" y="1553210"/>
                </a:cubicBezTo>
                <a:cubicBezTo>
                  <a:pt x="842017" y="1551940"/>
                  <a:pt x="842017" y="1551940"/>
                  <a:pt x="843286" y="1550670"/>
                </a:cubicBezTo>
                <a:cubicBezTo>
                  <a:pt x="1445267" y="1055370"/>
                  <a:pt x="1798326" y="529590"/>
                  <a:pt x="1903736" y="0"/>
                </a:cubicBezTo>
                <a:lnTo>
                  <a:pt x="5212086" y="0"/>
                </a:lnTo>
                <a:lnTo>
                  <a:pt x="5212086" y="6858000"/>
                </a:lnTo>
                <a:lnTo>
                  <a:pt x="3272796"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0" name="slide number">
            <a:extLst>
              <a:ext uri="{FF2B5EF4-FFF2-40B4-BE49-F238E27FC236}">
                <a16:creationId xmlns:a16="http://schemas.microsoft.com/office/drawing/2014/main" id="{806DED45-4BC7-C6F5-F26F-6CD59EA5B6A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B32839BA-2D56-A01B-FE5C-F161B633535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9" name="date">
            <a:extLst>
              <a:ext uri="{FF2B5EF4-FFF2-40B4-BE49-F238E27FC236}">
                <a16:creationId xmlns:a16="http://schemas.microsoft.com/office/drawing/2014/main" id="{50109232-4643-9278-B176-335653E00909}"/>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93" name="subhead 3">
            <a:extLst>
              <a:ext uri="{FF2B5EF4-FFF2-40B4-BE49-F238E27FC236}">
                <a16:creationId xmlns:a16="http://schemas.microsoft.com/office/drawing/2014/main" id="{A621FD8A-0372-D7B0-7589-D502248B5856}"/>
              </a:ext>
            </a:extLst>
          </p:cNvPr>
          <p:cNvSpPr>
            <a:spLocks noGrp="1"/>
          </p:cNvSpPr>
          <p:nvPr>
            <p:ph type="body" idx="18"/>
          </p:nvPr>
        </p:nvSpPr>
        <p:spPr>
          <a:xfrm>
            <a:off x="7803175" y="1800000"/>
            <a:ext cx="2592000" cy="4365850"/>
          </a:xfrm>
          <a:prstGeom prst="roundRect">
            <a:avLst>
              <a:gd name="adj" fmla="val 503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17" name="text 3">
            <a:extLst>
              <a:ext uri="{FF2B5EF4-FFF2-40B4-BE49-F238E27FC236}">
                <a16:creationId xmlns:a16="http://schemas.microsoft.com/office/drawing/2014/main" id="{03D9F645-BD61-312D-FDBA-3F63F457F0E9}"/>
              </a:ext>
            </a:extLst>
          </p:cNvPr>
          <p:cNvSpPr>
            <a:spLocks noGrp="1"/>
          </p:cNvSpPr>
          <p:nvPr>
            <p:ph type="body" sz="quarter" idx="26"/>
          </p:nvPr>
        </p:nvSpPr>
        <p:spPr>
          <a:xfrm>
            <a:off x="7796825" y="3816000"/>
            <a:ext cx="2592000" cy="2349849"/>
          </a:xfrm>
        </p:spPr>
        <p:txBody>
          <a:bodyPr lIns="216000" rIns="216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lnSpc>
                <a:spcPts val="1600"/>
              </a:lnSpc>
              <a:spcBef>
                <a:spcPts val="300"/>
              </a:spcBef>
              <a:defRPr sz="1200"/>
            </a:lvl9pPr>
          </a:lstStyle>
          <a:p>
            <a:pPr lvl="0"/>
            <a:r>
              <a:rPr lang="de-DE"/>
              <a:t>Mastertextformat bearbeiten</a:t>
            </a:r>
          </a:p>
        </p:txBody>
      </p:sp>
      <p:sp>
        <p:nvSpPr>
          <p:cNvPr id="14" name="picture 3">
            <a:extLst>
              <a:ext uri="{FF2B5EF4-FFF2-40B4-BE49-F238E27FC236}">
                <a16:creationId xmlns:a16="http://schemas.microsoft.com/office/drawing/2014/main" id="{9FF70640-2E25-EBCF-C164-4D8776EDCC0B}"/>
              </a:ext>
            </a:extLst>
          </p:cNvPr>
          <p:cNvSpPr>
            <a:spLocks noGrp="1"/>
          </p:cNvSpPr>
          <p:nvPr>
            <p:ph type="pic" sz="quarter" idx="23"/>
          </p:nvPr>
        </p:nvSpPr>
        <p:spPr>
          <a:xfrm>
            <a:off x="7802363" y="1790475"/>
            <a:ext cx="2592000" cy="1800000"/>
          </a:xfrm>
          <a:prstGeom prst="round2SameRect">
            <a:avLst>
              <a:gd name="adj1" fmla="val 4811"/>
              <a:gd name="adj2" fmla="val 0"/>
            </a:avLst>
          </a:prstGeom>
          <a:solidFill>
            <a:schemeClr val="bg1"/>
          </a:solidFill>
          <a:effectLst/>
        </p:spPr>
        <p:txBody>
          <a:bodyPr/>
          <a:lstStyle>
            <a:lvl1pPr>
              <a:defRPr lang="en-DE" dirty="0"/>
            </a:lvl1pPr>
          </a:lstStyle>
          <a:p>
            <a:r>
              <a:rPr lang="de-DE"/>
              <a:t>Bild durch Klicken auf Symbol hinzufügen</a:t>
            </a:r>
            <a:endParaRPr lang="en-DE" dirty="0"/>
          </a:p>
        </p:txBody>
      </p:sp>
      <p:sp>
        <p:nvSpPr>
          <p:cNvPr id="92" name="subhead 2">
            <a:extLst>
              <a:ext uri="{FF2B5EF4-FFF2-40B4-BE49-F238E27FC236}">
                <a16:creationId xmlns:a16="http://schemas.microsoft.com/office/drawing/2014/main" id="{0C79B4B6-AEFC-E24C-2B7C-4FE3BD9C9C77}"/>
              </a:ext>
            </a:extLst>
          </p:cNvPr>
          <p:cNvSpPr>
            <a:spLocks noGrp="1"/>
          </p:cNvSpPr>
          <p:nvPr>
            <p:ph type="body" idx="17"/>
          </p:nvPr>
        </p:nvSpPr>
        <p:spPr>
          <a:xfrm>
            <a:off x="4798412" y="1800000"/>
            <a:ext cx="2592000" cy="4365850"/>
          </a:xfrm>
          <a:prstGeom prst="roundRect">
            <a:avLst>
              <a:gd name="adj" fmla="val 699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16" name="text 2">
            <a:extLst>
              <a:ext uri="{FF2B5EF4-FFF2-40B4-BE49-F238E27FC236}">
                <a16:creationId xmlns:a16="http://schemas.microsoft.com/office/drawing/2014/main" id="{AE529241-D4E7-89E7-5EA8-61F00FC64913}"/>
              </a:ext>
            </a:extLst>
          </p:cNvPr>
          <p:cNvSpPr>
            <a:spLocks noGrp="1"/>
          </p:cNvSpPr>
          <p:nvPr>
            <p:ph type="body" sz="quarter" idx="25"/>
          </p:nvPr>
        </p:nvSpPr>
        <p:spPr>
          <a:xfrm>
            <a:off x="4798412" y="3816000"/>
            <a:ext cx="2592000" cy="2349849"/>
          </a:xfrm>
        </p:spPr>
        <p:txBody>
          <a:bodyPr lIns="216000" rIns="216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lnSpc>
                <a:spcPts val="1600"/>
              </a:lnSpc>
              <a:spcBef>
                <a:spcPts val="300"/>
              </a:spcBef>
              <a:defRPr sz="1200"/>
            </a:lvl9pPr>
          </a:lstStyle>
          <a:p>
            <a:pPr lvl="0"/>
            <a:r>
              <a:rPr lang="de-DE"/>
              <a:t>Mastertextformat bearbeiten</a:t>
            </a:r>
          </a:p>
        </p:txBody>
      </p:sp>
      <p:sp>
        <p:nvSpPr>
          <p:cNvPr id="13" name="picture 2">
            <a:extLst>
              <a:ext uri="{FF2B5EF4-FFF2-40B4-BE49-F238E27FC236}">
                <a16:creationId xmlns:a16="http://schemas.microsoft.com/office/drawing/2014/main" id="{55B5AD6C-F5DC-9656-D99B-A67A0B7E5052}"/>
              </a:ext>
            </a:extLst>
          </p:cNvPr>
          <p:cNvSpPr>
            <a:spLocks noGrp="1"/>
          </p:cNvSpPr>
          <p:nvPr>
            <p:ph type="pic" sz="quarter" idx="22"/>
          </p:nvPr>
        </p:nvSpPr>
        <p:spPr>
          <a:xfrm>
            <a:off x="4800073" y="1790475"/>
            <a:ext cx="2592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49" name="subhead 1">
            <a:extLst>
              <a:ext uri="{FF2B5EF4-FFF2-40B4-BE49-F238E27FC236}">
                <a16:creationId xmlns:a16="http://schemas.microsoft.com/office/drawing/2014/main" id="{0FE4903D-F047-A069-A010-0199438C5A44}"/>
              </a:ext>
            </a:extLst>
          </p:cNvPr>
          <p:cNvSpPr>
            <a:spLocks noGrp="1"/>
          </p:cNvSpPr>
          <p:nvPr>
            <p:ph type="body" idx="1"/>
          </p:nvPr>
        </p:nvSpPr>
        <p:spPr>
          <a:xfrm>
            <a:off x="1800000" y="1800000"/>
            <a:ext cx="2592000" cy="4365850"/>
          </a:xfrm>
          <a:prstGeom prst="roundRect">
            <a:avLst>
              <a:gd name="adj" fmla="val 5284"/>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15" name="text 1">
            <a:extLst>
              <a:ext uri="{FF2B5EF4-FFF2-40B4-BE49-F238E27FC236}">
                <a16:creationId xmlns:a16="http://schemas.microsoft.com/office/drawing/2014/main" id="{907A54C3-A2FF-A59E-41B3-23D2F7C1E59E}"/>
              </a:ext>
            </a:extLst>
          </p:cNvPr>
          <p:cNvSpPr>
            <a:spLocks noGrp="1"/>
          </p:cNvSpPr>
          <p:nvPr>
            <p:ph type="body" sz="quarter" idx="24"/>
          </p:nvPr>
        </p:nvSpPr>
        <p:spPr>
          <a:xfrm>
            <a:off x="1800000" y="3816000"/>
            <a:ext cx="2592000" cy="2349849"/>
          </a:xfrm>
        </p:spPr>
        <p:txBody>
          <a:bodyPr lIns="216000" rIns="216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lnSpc>
                <a:spcPts val="1600"/>
              </a:lnSpc>
              <a:spcBef>
                <a:spcPts val="300"/>
              </a:spcBef>
              <a:defRPr sz="1200"/>
            </a:lvl9pPr>
          </a:lstStyle>
          <a:p>
            <a:pPr lvl="0"/>
            <a:r>
              <a:rPr lang="de-DE"/>
              <a:t>Mastertextformat bearbeiten</a:t>
            </a:r>
          </a:p>
        </p:txBody>
      </p:sp>
      <p:sp>
        <p:nvSpPr>
          <p:cNvPr id="11" name="picture 1">
            <a:extLst>
              <a:ext uri="{FF2B5EF4-FFF2-40B4-BE49-F238E27FC236}">
                <a16:creationId xmlns:a16="http://schemas.microsoft.com/office/drawing/2014/main" id="{48BC97E5-F4FC-CFC7-7C93-504C59D7A2BF}"/>
              </a:ext>
            </a:extLst>
          </p:cNvPr>
          <p:cNvSpPr>
            <a:spLocks noGrp="1"/>
          </p:cNvSpPr>
          <p:nvPr>
            <p:ph type="pic" sz="quarter" idx="21"/>
          </p:nvPr>
        </p:nvSpPr>
        <p:spPr>
          <a:xfrm>
            <a:off x="1800794" y="1790475"/>
            <a:ext cx="2592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86" name="title">
            <a:extLst>
              <a:ext uri="{FF2B5EF4-FFF2-40B4-BE49-F238E27FC236}">
                <a16:creationId xmlns:a16="http://schemas.microsoft.com/office/drawing/2014/main" id="{457734AF-380A-E58A-7517-29028ECFA967}"/>
              </a:ext>
            </a:extLst>
          </p:cNvPr>
          <p:cNvSpPr>
            <a:spLocks noGrp="1"/>
          </p:cNvSpPr>
          <p:nvPr>
            <p:ph type="title"/>
          </p:nvPr>
        </p:nvSpPr>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3CCF9C9E-CC68-9C72-1637-DC78701B6BD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15208504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  005 : 5 contents">
    <p:spTree>
      <p:nvGrpSpPr>
        <p:cNvPr id="1" name=""/>
        <p:cNvGrpSpPr/>
        <p:nvPr/>
      </p:nvGrpSpPr>
      <p:grpSpPr>
        <a:xfrm>
          <a:off x="0" y="0"/>
          <a:ext cx="0" cy="0"/>
          <a:chOff x="0" y="0"/>
          <a:chExt cx="0" cy="0"/>
        </a:xfrm>
      </p:grpSpPr>
      <p:sp>
        <p:nvSpPr>
          <p:cNvPr id="12" name="slide number">
            <a:extLst>
              <a:ext uri="{FF2B5EF4-FFF2-40B4-BE49-F238E27FC236}">
                <a16:creationId xmlns:a16="http://schemas.microsoft.com/office/drawing/2014/main" id="{CF0F75B6-3EDE-F843-4662-8A1F50C1840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3" name="footer">
            <a:extLst>
              <a:ext uri="{FF2B5EF4-FFF2-40B4-BE49-F238E27FC236}">
                <a16:creationId xmlns:a16="http://schemas.microsoft.com/office/drawing/2014/main" id="{847B67F7-92A3-77BE-E39C-D6653DB0D193}"/>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4" name="date">
            <a:extLst>
              <a:ext uri="{FF2B5EF4-FFF2-40B4-BE49-F238E27FC236}">
                <a16:creationId xmlns:a16="http://schemas.microsoft.com/office/drawing/2014/main" id="{8A607CBA-1A2F-48DC-062D-E74D1128CE4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5" name="content 5">
            <a:extLst>
              <a:ext uri="{FF2B5EF4-FFF2-40B4-BE49-F238E27FC236}">
                <a16:creationId xmlns:a16="http://schemas.microsoft.com/office/drawing/2014/main" id="{2A0D5407-F643-F9E8-6739-DC94AEDEB3C9}"/>
              </a:ext>
            </a:extLst>
          </p:cNvPr>
          <p:cNvSpPr>
            <a:spLocks noGrp="1"/>
          </p:cNvSpPr>
          <p:nvPr>
            <p:ph sz="quarter" idx="26"/>
          </p:nvPr>
        </p:nvSpPr>
        <p:spPr>
          <a:xfrm>
            <a:off x="9658863" y="1476000"/>
            <a:ext cx="1980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p:txBody>
      </p:sp>
      <p:sp>
        <p:nvSpPr>
          <p:cNvPr id="6" name="content 4">
            <a:extLst>
              <a:ext uri="{FF2B5EF4-FFF2-40B4-BE49-F238E27FC236}">
                <a16:creationId xmlns:a16="http://schemas.microsoft.com/office/drawing/2014/main" id="{B5886103-0D8E-5D01-3B87-1FDDA2E05BE4}"/>
              </a:ext>
            </a:extLst>
          </p:cNvPr>
          <p:cNvSpPr>
            <a:spLocks noGrp="1"/>
          </p:cNvSpPr>
          <p:nvPr>
            <p:ph sz="quarter" idx="25"/>
          </p:nvPr>
        </p:nvSpPr>
        <p:spPr>
          <a:xfrm>
            <a:off x="7379148" y="1476000"/>
            <a:ext cx="1980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5099432" y="1476000"/>
            <a:ext cx="1980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2819716" y="1476000"/>
            <a:ext cx="1980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76000"/>
            <a:ext cx="1980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8277"/>
            <a:ext cx="11088000" cy="648000"/>
          </a:xfrm>
        </p:spPr>
        <p:txBody>
          <a:bodyPr vert="horz"/>
          <a:lstStyle/>
          <a:p>
            <a:r>
              <a:rPr lang="de-DE"/>
              <a:t>Mastertitelformat bearbeiten</a:t>
            </a:r>
            <a:endParaRPr lang="en-US" dirty="0"/>
          </a:p>
        </p:txBody>
      </p:sp>
      <p:sp>
        <p:nvSpPr>
          <p:cNvPr id="8" name="navigation">
            <a:extLst>
              <a:ext uri="{FF2B5EF4-FFF2-40B4-BE49-F238E27FC236}">
                <a16:creationId xmlns:a16="http://schemas.microsoft.com/office/drawing/2014/main" id="{5F2144B7-05FA-9A39-1950-AAFC1FABEDCE}"/>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488718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  049 : team : 4 pictures : 4 names and roles : textbox">
    <p:spTree>
      <p:nvGrpSpPr>
        <p:cNvPr id="1" name=""/>
        <p:cNvGrpSpPr/>
        <p:nvPr/>
      </p:nvGrpSpPr>
      <p:grpSpPr>
        <a:xfrm>
          <a:off x="0" y="0"/>
          <a:ext cx="0" cy="0"/>
          <a:chOff x="0" y="0"/>
          <a:chExt cx="0" cy="0"/>
        </a:xfrm>
      </p:grpSpPr>
      <p:sp>
        <p:nvSpPr>
          <p:cNvPr id="10" name="slide number">
            <a:extLst>
              <a:ext uri="{FF2B5EF4-FFF2-40B4-BE49-F238E27FC236}">
                <a16:creationId xmlns:a16="http://schemas.microsoft.com/office/drawing/2014/main" id="{806DED45-4BC7-C6F5-F26F-6CD59EA5B6A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B32839BA-2D56-A01B-FE5C-F161B633535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9" name="date">
            <a:extLst>
              <a:ext uri="{FF2B5EF4-FFF2-40B4-BE49-F238E27FC236}">
                <a16:creationId xmlns:a16="http://schemas.microsoft.com/office/drawing/2014/main" id="{50109232-4643-9278-B176-335653E00909}"/>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5" name="extratext 3">
            <a:extLst>
              <a:ext uri="{FF2B5EF4-FFF2-40B4-BE49-F238E27FC236}">
                <a16:creationId xmlns:a16="http://schemas.microsoft.com/office/drawing/2014/main" id="{907A54C3-A2FF-A59E-41B3-23D2F7C1E59E}"/>
              </a:ext>
            </a:extLst>
          </p:cNvPr>
          <p:cNvSpPr>
            <a:spLocks noGrp="1"/>
          </p:cNvSpPr>
          <p:nvPr>
            <p:ph type="body" sz="quarter" idx="24"/>
          </p:nvPr>
        </p:nvSpPr>
        <p:spPr>
          <a:xfrm>
            <a:off x="8510356" y="2129755"/>
            <a:ext cx="3132000" cy="3060000"/>
          </a:xfrm>
        </p:spPr>
        <p:txBody>
          <a:bodyPr lIns="0" rIns="0"/>
          <a:lstStyle>
            <a:lvl1pPr>
              <a:lnSpc>
                <a:spcPts val="1600"/>
              </a:lnSpc>
              <a:spcBef>
                <a:spcPts val="300"/>
              </a:spcBef>
              <a:spcAft>
                <a:spcPts val="300"/>
              </a:spcAft>
              <a:defRPr sz="1200"/>
            </a:lvl1pPr>
            <a:lvl2pPr>
              <a:lnSpc>
                <a:spcPts val="1600"/>
              </a:lnSpc>
              <a:spcBef>
                <a:spcPts val="300"/>
              </a:spcBef>
              <a:spcAft>
                <a:spcPts val="300"/>
              </a:spcAft>
              <a:defRPr sz="1200"/>
            </a:lvl2pPr>
            <a:lvl3pPr>
              <a:lnSpc>
                <a:spcPts val="1600"/>
              </a:lnSpc>
              <a:spcBef>
                <a:spcPts val="300"/>
              </a:spcBef>
              <a:spcAft>
                <a:spcPts val="300"/>
              </a:spcAft>
              <a:defRPr sz="1200"/>
            </a:lvl3pPr>
            <a:lvl4pPr>
              <a:lnSpc>
                <a:spcPts val="1600"/>
              </a:lnSpc>
              <a:spcBef>
                <a:spcPts val="300"/>
              </a:spcBef>
              <a:spcAft>
                <a:spcPts val="300"/>
              </a:spcAft>
              <a:defRPr sz="1200"/>
            </a:lvl4pPr>
            <a:lvl5pPr>
              <a:lnSpc>
                <a:spcPts val="1600"/>
              </a:lnSpc>
              <a:spcBef>
                <a:spcPts val="300"/>
              </a:spcBef>
              <a:spcAft>
                <a:spcPts val="300"/>
              </a:spcAft>
              <a:defRPr sz="1200"/>
            </a:lvl5pPr>
            <a:lvl6pPr>
              <a:lnSpc>
                <a:spcPts val="1600"/>
              </a:lnSpc>
              <a:spcBef>
                <a:spcPts val="300"/>
              </a:spcBef>
              <a:spcAft>
                <a:spcPts val="300"/>
              </a:spcAft>
              <a:defRPr sz="1200"/>
            </a:lvl6pPr>
            <a:lvl7pPr>
              <a:lnSpc>
                <a:spcPts val="1600"/>
              </a:lnSpc>
              <a:spcBef>
                <a:spcPts val="300"/>
              </a:spcBef>
              <a:spcAft>
                <a:spcPts val="300"/>
              </a:spcAft>
              <a:defRPr sz="1200"/>
            </a:lvl7pPr>
            <a:lvl8pPr>
              <a:lnSpc>
                <a:spcPts val="1600"/>
              </a:lnSpc>
              <a:spcBef>
                <a:spcPts val="300"/>
              </a:spcBef>
              <a:spcAft>
                <a:spcPts val="300"/>
              </a:spcAft>
              <a:defRPr sz="1200"/>
            </a:lvl8pPr>
            <a:lvl9pPr>
              <a:lnSpc>
                <a:spcPts val="1600"/>
              </a:lnSpc>
              <a:spcBef>
                <a:spcPts val="300"/>
              </a:spcBef>
              <a:spcAft>
                <a:spcPts val="300"/>
              </a:spcAft>
              <a:defRPr sz="1200"/>
            </a:lvl9pPr>
          </a:lstStyle>
          <a:p>
            <a:pPr lvl="0"/>
            <a:r>
              <a:rPr lang="de-DE"/>
              <a:t>Mastertextformat bearbeiten</a:t>
            </a:r>
          </a:p>
        </p:txBody>
      </p:sp>
      <p:sp>
        <p:nvSpPr>
          <p:cNvPr id="6" name="name 3">
            <a:extLst>
              <a:ext uri="{FF2B5EF4-FFF2-40B4-BE49-F238E27FC236}">
                <a16:creationId xmlns:a16="http://schemas.microsoft.com/office/drawing/2014/main" id="{1C653765-1CB5-F006-FC70-1B326B107DBC}"/>
              </a:ext>
            </a:extLst>
          </p:cNvPr>
          <p:cNvSpPr>
            <a:spLocks noGrp="1"/>
          </p:cNvSpPr>
          <p:nvPr>
            <p:ph type="body" idx="69"/>
          </p:nvPr>
        </p:nvSpPr>
        <p:spPr>
          <a:xfrm>
            <a:off x="8510356" y="1512000"/>
            <a:ext cx="3153644" cy="360000"/>
          </a:xfrm>
        </p:spPr>
        <p:txBody>
          <a:bodyPr lIns="0" rIns="0" anchor="b" anchorCtr="0"/>
          <a:lstStyle>
            <a:lvl1pPr marL="0" indent="0" algn="l">
              <a:lnSpc>
                <a:spcPts val="1400"/>
              </a:lnSpc>
              <a:spcBef>
                <a:spcPts val="0"/>
              </a:spcBef>
              <a:spcAft>
                <a:spcPts val="0"/>
              </a:spcAft>
              <a:buNone/>
              <a:defRPr sz="1200" b="0" cap="all" spc="100" baseline="0">
                <a:gradFill>
                  <a:gsLst>
                    <a:gs pos="0">
                      <a:srgbClr val="FF4B4B"/>
                    </a:gs>
                    <a:gs pos="100000">
                      <a:srgbClr val="FF744F"/>
                    </a:gs>
                  </a:gsLst>
                  <a:lin ang="18900000" scaled="1"/>
                </a:gra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3" name="subhead 2.2">
            <a:extLst>
              <a:ext uri="{FF2B5EF4-FFF2-40B4-BE49-F238E27FC236}">
                <a16:creationId xmlns:a16="http://schemas.microsoft.com/office/drawing/2014/main" id="{5E9FF420-AE4E-B6D5-7A75-0EAED10C9583}"/>
              </a:ext>
            </a:extLst>
          </p:cNvPr>
          <p:cNvSpPr>
            <a:spLocks noGrp="1"/>
          </p:cNvSpPr>
          <p:nvPr>
            <p:ph type="body" idx="59"/>
          </p:nvPr>
        </p:nvSpPr>
        <p:spPr>
          <a:xfrm>
            <a:off x="4527278" y="3735676"/>
            <a:ext cx="3600000" cy="1439862"/>
          </a:xfrm>
          <a:prstGeom prst="roundRect">
            <a:avLst>
              <a:gd name="adj" fmla="val 5780"/>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64" name="role 2.2">
            <a:extLst>
              <a:ext uri="{FF2B5EF4-FFF2-40B4-BE49-F238E27FC236}">
                <a16:creationId xmlns:a16="http://schemas.microsoft.com/office/drawing/2014/main" id="{8F7C39DC-C8E1-D238-124E-F021D16845FB}"/>
              </a:ext>
            </a:extLst>
          </p:cNvPr>
          <p:cNvSpPr>
            <a:spLocks noGrp="1"/>
          </p:cNvSpPr>
          <p:nvPr>
            <p:ph type="body" idx="60"/>
          </p:nvPr>
        </p:nvSpPr>
        <p:spPr>
          <a:xfrm>
            <a:off x="6115328" y="4458713"/>
            <a:ext cx="1979612" cy="720000"/>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5" name="name 2.2">
            <a:extLst>
              <a:ext uri="{FF2B5EF4-FFF2-40B4-BE49-F238E27FC236}">
                <a16:creationId xmlns:a16="http://schemas.microsoft.com/office/drawing/2014/main" id="{93AF7DC2-179D-17D8-825F-4CD149B78523}"/>
              </a:ext>
            </a:extLst>
          </p:cNvPr>
          <p:cNvSpPr>
            <a:spLocks noGrp="1"/>
          </p:cNvSpPr>
          <p:nvPr>
            <p:ph type="body" idx="61"/>
          </p:nvPr>
        </p:nvSpPr>
        <p:spPr>
          <a:xfrm>
            <a:off x="6115328" y="3749294"/>
            <a:ext cx="1979612" cy="648000"/>
          </a:xfrm>
        </p:spPr>
        <p:txBody>
          <a:bodyPr lIns="144000" rIns="144000" anchor="b" anchorCtr="0"/>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6" name="picture 2.2">
            <a:extLst>
              <a:ext uri="{FF2B5EF4-FFF2-40B4-BE49-F238E27FC236}">
                <a16:creationId xmlns:a16="http://schemas.microsoft.com/office/drawing/2014/main" id="{E8AF6756-10EA-EB48-BA08-728E45D9EBF2}"/>
              </a:ext>
            </a:extLst>
          </p:cNvPr>
          <p:cNvSpPr>
            <a:spLocks noGrp="1"/>
          </p:cNvSpPr>
          <p:nvPr>
            <p:ph type="pic" sz="quarter" idx="62"/>
          </p:nvPr>
        </p:nvSpPr>
        <p:spPr>
          <a:xfrm>
            <a:off x="4525178" y="3735289"/>
            <a:ext cx="1584000" cy="1440000"/>
          </a:xfrm>
          <a:custGeom>
            <a:avLst/>
            <a:gdLst>
              <a:gd name="connsiteX0" fmla="*/ 0 w 1584000"/>
              <a:gd name="connsiteY0" fmla="*/ 125712 h 1440000"/>
              <a:gd name="connsiteX1" fmla="*/ 125712 w 1584000"/>
              <a:gd name="connsiteY1" fmla="*/ 0 h 1440000"/>
              <a:gd name="connsiteX2" fmla="*/ 1458288 w 1584000"/>
              <a:gd name="connsiteY2" fmla="*/ 0 h 1440000"/>
              <a:gd name="connsiteX3" fmla="*/ 1584000 w 1584000"/>
              <a:gd name="connsiteY3" fmla="*/ 125712 h 1440000"/>
              <a:gd name="connsiteX4" fmla="*/ 1584000 w 1584000"/>
              <a:gd name="connsiteY4" fmla="*/ 1314288 h 1440000"/>
              <a:gd name="connsiteX5" fmla="*/ 1458288 w 1584000"/>
              <a:gd name="connsiteY5" fmla="*/ 1440000 h 1440000"/>
              <a:gd name="connsiteX6" fmla="*/ 125712 w 1584000"/>
              <a:gd name="connsiteY6" fmla="*/ 1440000 h 1440000"/>
              <a:gd name="connsiteX7" fmla="*/ 0 w 1584000"/>
              <a:gd name="connsiteY7" fmla="*/ 1314288 h 1440000"/>
              <a:gd name="connsiteX8" fmla="*/ 0 w 1584000"/>
              <a:gd name="connsiteY8" fmla="*/ 125712 h 1440000"/>
              <a:gd name="connsiteX0" fmla="*/ 0 w 1612314"/>
              <a:gd name="connsiteY0" fmla="*/ 125712 h 1440000"/>
              <a:gd name="connsiteX1" fmla="*/ 125712 w 1612314"/>
              <a:gd name="connsiteY1" fmla="*/ 0 h 1440000"/>
              <a:gd name="connsiteX2" fmla="*/ 1458288 w 1612314"/>
              <a:gd name="connsiteY2" fmla="*/ 0 h 1440000"/>
              <a:gd name="connsiteX3" fmla="*/ 1584000 w 1612314"/>
              <a:gd name="connsiteY3" fmla="*/ 1314288 h 1440000"/>
              <a:gd name="connsiteX4" fmla="*/ 1458288 w 1612314"/>
              <a:gd name="connsiteY4" fmla="*/ 1440000 h 1440000"/>
              <a:gd name="connsiteX5" fmla="*/ 125712 w 1612314"/>
              <a:gd name="connsiteY5" fmla="*/ 1440000 h 1440000"/>
              <a:gd name="connsiteX6" fmla="*/ 0 w 1612314"/>
              <a:gd name="connsiteY6" fmla="*/ 1314288 h 1440000"/>
              <a:gd name="connsiteX7" fmla="*/ 0 w 1612314"/>
              <a:gd name="connsiteY7" fmla="*/ 125712 h 1440000"/>
              <a:gd name="connsiteX0" fmla="*/ 0 w 1624860"/>
              <a:gd name="connsiteY0" fmla="*/ 125712 h 1440000"/>
              <a:gd name="connsiteX1" fmla="*/ 125712 w 1624860"/>
              <a:gd name="connsiteY1" fmla="*/ 0 h 1440000"/>
              <a:gd name="connsiteX2" fmla="*/ 1458288 w 1624860"/>
              <a:gd name="connsiteY2" fmla="*/ 0 h 1440000"/>
              <a:gd name="connsiteX3" fmla="*/ 1458288 w 1624860"/>
              <a:gd name="connsiteY3" fmla="*/ 1440000 h 1440000"/>
              <a:gd name="connsiteX4" fmla="*/ 125712 w 1624860"/>
              <a:gd name="connsiteY4" fmla="*/ 1440000 h 1440000"/>
              <a:gd name="connsiteX5" fmla="*/ 0 w 1624860"/>
              <a:gd name="connsiteY5" fmla="*/ 1314288 h 1440000"/>
              <a:gd name="connsiteX6" fmla="*/ 0 w 1624860"/>
              <a:gd name="connsiteY6" fmla="*/ 125712 h 1440000"/>
              <a:gd name="connsiteX0" fmla="*/ 0 w 1666043"/>
              <a:gd name="connsiteY0" fmla="*/ 125712 h 1440000"/>
              <a:gd name="connsiteX1" fmla="*/ 125712 w 1666043"/>
              <a:gd name="connsiteY1" fmla="*/ 0 h 1440000"/>
              <a:gd name="connsiteX2" fmla="*/ 1458288 w 1666043"/>
              <a:gd name="connsiteY2" fmla="*/ 0 h 1440000"/>
              <a:gd name="connsiteX3" fmla="*/ 1458288 w 1666043"/>
              <a:gd name="connsiteY3" fmla="*/ 1440000 h 1440000"/>
              <a:gd name="connsiteX4" fmla="*/ 125712 w 1666043"/>
              <a:gd name="connsiteY4" fmla="*/ 1440000 h 1440000"/>
              <a:gd name="connsiteX5" fmla="*/ 0 w 1666043"/>
              <a:gd name="connsiteY5" fmla="*/ 1314288 h 1440000"/>
              <a:gd name="connsiteX6" fmla="*/ 0 w 1666043"/>
              <a:gd name="connsiteY6" fmla="*/ 125712 h 1440000"/>
              <a:gd name="connsiteX0" fmla="*/ 0 w 1714742"/>
              <a:gd name="connsiteY0" fmla="*/ 125712 h 1440000"/>
              <a:gd name="connsiteX1" fmla="*/ 125712 w 1714742"/>
              <a:gd name="connsiteY1" fmla="*/ 0 h 1440000"/>
              <a:gd name="connsiteX2" fmla="*/ 1458288 w 1714742"/>
              <a:gd name="connsiteY2" fmla="*/ 0 h 1440000"/>
              <a:gd name="connsiteX3" fmla="*/ 1458288 w 1714742"/>
              <a:gd name="connsiteY3" fmla="*/ 1440000 h 1440000"/>
              <a:gd name="connsiteX4" fmla="*/ 125712 w 1714742"/>
              <a:gd name="connsiteY4" fmla="*/ 1440000 h 1440000"/>
              <a:gd name="connsiteX5" fmla="*/ 0 w 1714742"/>
              <a:gd name="connsiteY5" fmla="*/ 1314288 h 1440000"/>
              <a:gd name="connsiteX6" fmla="*/ 0 w 1714742"/>
              <a:gd name="connsiteY6" fmla="*/ 125712 h 1440000"/>
              <a:gd name="connsiteX0" fmla="*/ 0 w 1556997"/>
              <a:gd name="connsiteY0" fmla="*/ 125712 h 1440000"/>
              <a:gd name="connsiteX1" fmla="*/ 125712 w 1556997"/>
              <a:gd name="connsiteY1" fmla="*/ 0 h 1440000"/>
              <a:gd name="connsiteX2" fmla="*/ 1458288 w 1556997"/>
              <a:gd name="connsiteY2" fmla="*/ 0 h 1440000"/>
              <a:gd name="connsiteX3" fmla="*/ 1458288 w 1556997"/>
              <a:gd name="connsiteY3" fmla="*/ 1440000 h 1440000"/>
              <a:gd name="connsiteX4" fmla="*/ 125712 w 1556997"/>
              <a:gd name="connsiteY4" fmla="*/ 1440000 h 1440000"/>
              <a:gd name="connsiteX5" fmla="*/ 0 w 1556997"/>
              <a:gd name="connsiteY5" fmla="*/ 1314288 h 1440000"/>
              <a:gd name="connsiteX6" fmla="*/ 0 w 1556997"/>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125712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81867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288" h="1440000">
                <a:moveTo>
                  <a:pt x="0" y="125712"/>
                </a:moveTo>
                <a:cubicBezTo>
                  <a:pt x="0" y="56283"/>
                  <a:pt x="12438" y="0"/>
                  <a:pt x="81867" y="0"/>
                </a:cubicBezTo>
                <a:lnTo>
                  <a:pt x="1458288" y="0"/>
                </a:lnTo>
                <a:lnTo>
                  <a:pt x="1458288" y="1440000"/>
                </a:lnTo>
                <a:lnTo>
                  <a:pt x="75290" y="1440000"/>
                </a:lnTo>
                <a:cubicBezTo>
                  <a:pt x="5861" y="1440000"/>
                  <a:pt x="0" y="1383717"/>
                  <a:pt x="0" y="1314288"/>
                </a:cubicBezTo>
                <a:lnTo>
                  <a:pt x="0" y="125712"/>
                </a:lnTo>
                <a:close/>
              </a:path>
            </a:pathLst>
          </a:custGeom>
          <a:solidFill>
            <a:schemeClr val="bg1"/>
          </a:solidFill>
          <a:effectLst/>
        </p:spPr>
        <p:txBody>
          <a:bodyPr/>
          <a:lstStyle>
            <a:lvl1pPr>
              <a:defRPr lang="en-DE" dirty="0"/>
            </a:lvl1pPr>
          </a:lstStyle>
          <a:p>
            <a:r>
              <a:rPr lang="de-DE"/>
              <a:t>Bild durch Klicken auf Symbol hinzufügen</a:t>
            </a:r>
            <a:endParaRPr lang="en-DE" dirty="0"/>
          </a:p>
        </p:txBody>
      </p:sp>
      <p:sp>
        <p:nvSpPr>
          <p:cNvPr id="67" name="subhead 2">
            <a:extLst>
              <a:ext uri="{FF2B5EF4-FFF2-40B4-BE49-F238E27FC236}">
                <a16:creationId xmlns:a16="http://schemas.microsoft.com/office/drawing/2014/main" id="{D5E34A60-AEFD-CB5F-7F16-E61E1EB95B46}"/>
              </a:ext>
            </a:extLst>
          </p:cNvPr>
          <p:cNvSpPr>
            <a:spLocks noGrp="1"/>
          </p:cNvSpPr>
          <p:nvPr>
            <p:ph type="body" idx="63"/>
          </p:nvPr>
        </p:nvSpPr>
        <p:spPr>
          <a:xfrm>
            <a:off x="4527278" y="2119313"/>
            <a:ext cx="3600000" cy="1439862"/>
          </a:xfrm>
          <a:prstGeom prst="roundRect">
            <a:avLst>
              <a:gd name="adj" fmla="val 5780"/>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68" name="role 2">
            <a:extLst>
              <a:ext uri="{FF2B5EF4-FFF2-40B4-BE49-F238E27FC236}">
                <a16:creationId xmlns:a16="http://schemas.microsoft.com/office/drawing/2014/main" id="{E9030E3B-9B95-4FBF-2233-89490F1AF5B0}"/>
              </a:ext>
            </a:extLst>
          </p:cNvPr>
          <p:cNvSpPr>
            <a:spLocks noGrp="1"/>
          </p:cNvSpPr>
          <p:nvPr>
            <p:ph type="body" idx="64"/>
          </p:nvPr>
        </p:nvSpPr>
        <p:spPr>
          <a:xfrm>
            <a:off x="6115328" y="2839175"/>
            <a:ext cx="1979612" cy="720000"/>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9" name="name 2">
            <a:extLst>
              <a:ext uri="{FF2B5EF4-FFF2-40B4-BE49-F238E27FC236}">
                <a16:creationId xmlns:a16="http://schemas.microsoft.com/office/drawing/2014/main" id="{44161A00-43BE-C269-836D-806038B0D335}"/>
              </a:ext>
            </a:extLst>
          </p:cNvPr>
          <p:cNvSpPr>
            <a:spLocks noGrp="1"/>
          </p:cNvSpPr>
          <p:nvPr>
            <p:ph type="body" idx="65"/>
          </p:nvPr>
        </p:nvSpPr>
        <p:spPr>
          <a:xfrm>
            <a:off x="6115328" y="2129755"/>
            <a:ext cx="1979612" cy="648000"/>
          </a:xfrm>
        </p:spPr>
        <p:txBody>
          <a:bodyPr lIns="144000" rIns="144000" anchor="b" anchorCtr="0"/>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70" name="picture 2">
            <a:extLst>
              <a:ext uri="{FF2B5EF4-FFF2-40B4-BE49-F238E27FC236}">
                <a16:creationId xmlns:a16="http://schemas.microsoft.com/office/drawing/2014/main" id="{15F978E7-316F-2B35-EAB8-3EC1599AEF34}"/>
              </a:ext>
            </a:extLst>
          </p:cNvPr>
          <p:cNvSpPr>
            <a:spLocks noGrp="1"/>
          </p:cNvSpPr>
          <p:nvPr>
            <p:ph type="pic" sz="quarter" idx="66"/>
          </p:nvPr>
        </p:nvSpPr>
        <p:spPr>
          <a:xfrm>
            <a:off x="4525178" y="2120107"/>
            <a:ext cx="1584000" cy="1440000"/>
          </a:xfrm>
          <a:custGeom>
            <a:avLst/>
            <a:gdLst>
              <a:gd name="connsiteX0" fmla="*/ 0 w 1584000"/>
              <a:gd name="connsiteY0" fmla="*/ 125712 h 1440000"/>
              <a:gd name="connsiteX1" fmla="*/ 125712 w 1584000"/>
              <a:gd name="connsiteY1" fmla="*/ 0 h 1440000"/>
              <a:gd name="connsiteX2" fmla="*/ 1458288 w 1584000"/>
              <a:gd name="connsiteY2" fmla="*/ 0 h 1440000"/>
              <a:gd name="connsiteX3" fmla="*/ 1584000 w 1584000"/>
              <a:gd name="connsiteY3" fmla="*/ 125712 h 1440000"/>
              <a:gd name="connsiteX4" fmla="*/ 1584000 w 1584000"/>
              <a:gd name="connsiteY4" fmla="*/ 1314288 h 1440000"/>
              <a:gd name="connsiteX5" fmla="*/ 1458288 w 1584000"/>
              <a:gd name="connsiteY5" fmla="*/ 1440000 h 1440000"/>
              <a:gd name="connsiteX6" fmla="*/ 125712 w 1584000"/>
              <a:gd name="connsiteY6" fmla="*/ 1440000 h 1440000"/>
              <a:gd name="connsiteX7" fmla="*/ 0 w 1584000"/>
              <a:gd name="connsiteY7" fmla="*/ 1314288 h 1440000"/>
              <a:gd name="connsiteX8" fmla="*/ 0 w 1584000"/>
              <a:gd name="connsiteY8" fmla="*/ 125712 h 1440000"/>
              <a:gd name="connsiteX0" fmla="*/ 0 w 1612314"/>
              <a:gd name="connsiteY0" fmla="*/ 125712 h 1440000"/>
              <a:gd name="connsiteX1" fmla="*/ 125712 w 1612314"/>
              <a:gd name="connsiteY1" fmla="*/ 0 h 1440000"/>
              <a:gd name="connsiteX2" fmla="*/ 1458288 w 1612314"/>
              <a:gd name="connsiteY2" fmla="*/ 0 h 1440000"/>
              <a:gd name="connsiteX3" fmla="*/ 1584000 w 1612314"/>
              <a:gd name="connsiteY3" fmla="*/ 1314288 h 1440000"/>
              <a:gd name="connsiteX4" fmla="*/ 1458288 w 1612314"/>
              <a:gd name="connsiteY4" fmla="*/ 1440000 h 1440000"/>
              <a:gd name="connsiteX5" fmla="*/ 125712 w 1612314"/>
              <a:gd name="connsiteY5" fmla="*/ 1440000 h 1440000"/>
              <a:gd name="connsiteX6" fmla="*/ 0 w 1612314"/>
              <a:gd name="connsiteY6" fmla="*/ 1314288 h 1440000"/>
              <a:gd name="connsiteX7" fmla="*/ 0 w 1612314"/>
              <a:gd name="connsiteY7" fmla="*/ 125712 h 1440000"/>
              <a:gd name="connsiteX0" fmla="*/ 0 w 1624860"/>
              <a:gd name="connsiteY0" fmla="*/ 125712 h 1440000"/>
              <a:gd name="connsiteX1" fmla="*/ 125712 w 1624860"/>
              <a:gd name="connsiteY1" fmla="*/ 0 h 1440000"/>
              <a:gd name="connsiteX2" fmla="*/ 1458288 w 1624860"/>
              <a:gd name="connsiteY2" fmla="*/ 0 h 1440000"/>
              <a:gd name="connsiteX3" fmla="*/ 1458288 w 1624860"/>
              <a:gd name="connsiteY3" fmla="*/ 1440000 h 1440000"/>
              <a:gd name="connsiteX4" fmla="*/ 125712 w 1624860"/>
              <a:gd name="connsiteY4" fmla="*/ 1440000 h 1440000"/>
              <a:gd name="connsiteX5" fmla="*/ 0 w 1624860"/>
              <a:gd name="connsiteY5" fmla="*/ 1314288 h 1440000"/>
              <a:gd name="connsiteX6" fmla="*/ 0 w 1624860"/>
              <a:gd name="connsiteY6" fmla="*/ 125712 h 1440000"/>
              <a:gd name="connsiteX0" fmla="*/ 0 w 1666043"/>
              <a:gd name="connsiteY0" fmla="*/ 125712 h 1440000"/>
              <a:gd name="connsiteX1" fmla="*/ 125712 w 1666043"/>
              <a:gd name="connsiteY1" fmla="*/ 0 h 1440000"/>
              <a:gd name="connsiteX2" fmla="*/ 1458288 w 1666043"/>
              <a:gd name="connsiteY2" fmla="*/ 0 h 1440000"/>
              <a:gd name="connsiteX3" fmla="*/ 1458288 w 1666043"/>
              <a:gd name="connsiteY3" fmla="*/ 1440000 h 1440000"/>
              <a:gd name="connsiteX4" fmla="*/ 125712 w 1666043"/>
              <a:gd name="connsiteY4" fmla="*/ 1440000 h 1440000"/>
              <a:gd name="connsiteX5" fmla="*/ 0 w 1666043"/>
              <a:gd name="connsiteY5" fmla="*/ 1314288 h 1440000"/>
              <a:gd name="connsiteX6" fmla="*/ 0 w 1666043"/>
              <a:gd name="connsiteY6" fmla="*/ 125712 h 1440000"/>
              <a:gd name="connsiteX0" fmla="*/ 0 w 1714742"/>
              <a:gd name="connsiteY0" fmla="*/ 125712 h 1440000"/>
              <a:gd name="connsiteX1" fmla="*/ 125712 w 1714742"/>
              <a:gd name="connsiteY1" fmla="*/ 0 h 1440000"/>
              <a:gd name="connsiteX2" fmla="*/ 1458288 w 1714742"/>
              <a:gd name="connsiteY2" fmla="*/ 0 h 1440000"/>
              <a:gd name="connsiteX3" fmla="*/ 1458288 w 1714742"/>
              <a:gd name="connsiteY3" fmla="*/ 1440000 h 1440000"/>
              <a:gd name="connsiteX4" fmla="*/ 125712 w 1714742"/>
              <a:gd name="connsiteY4" fmla="*/ 1440000 h 1440000"/>
              <a:gd name="connsiteX5" fmla="*/ 0 w 1714742"/>
              <a:gd name="connsiteY5" fmla="*/ 1314288 h 1440000"/>
              <a:gd name="connsiteX6" fmla="*/ 0 w 1714742"/>
              <a:gd name="connsiteY6" fmla="*/ 125712 h 1440000"/>
              <a:gd name="connsiteX0" fmla="*/ 0 w 1556997"/>
              <a:gd name="connsiteY0" fmla="*/ 125712 h 1440000"/>
              <a:gd name="connsiteX1" fmla="*/ 125712 w 1556997"/>
              <a:gd name="connsiteY1" fmla="*/ 0 h 1440000"/>
              <a:gd name="connsiteX2" fmla="*/ 1458288 w 1556997"/>
              <a:gd name="connsiteY2" fmla="*/ 0 h 1440000"/>
              <a:gd name="connsiteX3" fmla="*/ 1458288 w 1556997"/>
              <a:gd name="connsiteY3" fmla="*/ 1440000 h 1440000"/>
              <a:gd name="connsiteX4" fmla="*/ 125712 w 1556997"/>
              <a:gd name="connsiteY4" fmla="*/ 1440000 h 1440000"/>
              <a:gd name="connsiteX5" fmla="*/ 0 w 1556997"/>
              <a:gd name="connsiteY5" fmla="*/ 1314288 h 1440000"/>
              <a:gd name="connsiteX6" fmla="*/ 0 w 1556997"/>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125712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81867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288" h="1440000">
                <a:moveTo>
                  <a:pt x="0" y="125712"/>
                </a:moveTo>
                <a:cubicBezTo>
                  <a:pt x="0" y="56283"/>
                  <a:pt x="12438" y="0"/>
                  <a:pt x="81867" y="0"/>
                </a:cubicBezTo>
                <a:lnTo>
                  <a:pt x="1458288" y="0"/>
                </a:lnTo>
                <a:lnTo>
                  <a:pt x="1458288" y="1440000"/>
                </a:lnTo>
                <a:lnTo>
                  <a:pt x="75290" y="1440000"/>
                </a:lnTo>
                <a:cubicBezTo>
                  <a:pt x="5861" y="1440000"/>
                  <a:pt x="0" y="1383717"/>
                  <a:pt x="0" y="1314288"/>
                </a:cubicBezTo>
                <a:lnTo>
                  <a:pt x="0" y="125712"/>
                </a:lnTo>
                <a:close/>
              </a:path>
            </a:pathLst>
          </a:custGeom>
          <a:solidFill>
            <a:schemeClr val="bg1"/>
          </a:solidFill>
          <a:effectLst/>
        </p:spPr>
        <p:txBody>
          <a:bodyPr/>
          <a:lstStyle>
            <a:lvl1pPr>
              <a:defRPr lang="en-DE" dirty="0"/>
            </a:lvl1pPr>
          </a:lstStyle>
          <a:p>
            <a:r>
              <a:rPr lang="de-DE"/>
              <a:t>Bild durch Klicken auf Symbol hinzufügen</a:t>
            </a:r>
            <a:endParaRPr lang="en-DE" dirty="0"/>
          </a:p>
        </p:txBody>
      </p:sp>
      <p:sp>
        <p:nvSpPr>
          <p:cNvPr id="3" name="name 2">
            <a:extLst>
              <a:ext uri="{FF2B5EF4-FFF2-40B4-BE49-F238E27FC236}">
                <a16:creationId xmlns:a16="http://schemas.microsoft.com/office/drawing/2014/main" id="{8BED4AE3-69E6-C919-F264-88E9828D555F}"/>
              </a:ext>
            </a:extLst>
          </p:cNvPr>
          <p:cNvSpPr>
            <a:spLocks noGrp="1"/>
          </p:cNvSpPr>
          <p:nvPr>
            <p:ph type="body" idx="68"/>
          </p:nvPr>
        </p:nvSpPr>
        <p:spPr>
          <a:xfrm>
            <a:off x="4527278" y="1512000"/>
            <a:ext cx="3600000" cy="360000"/>
          </a:xfrm>
        </p:spPr>
        <p:txBody>
          <a:bodyPr lIns="0" rIns="0" anchor="b" anchorCtr="0"/>
          <a:lstStyle>
            <a:lvl1pPr marL="0" indent="0" algn="l">
              <a:lnSpc>
                <a:spcPts val="1400"/>
              </a:lnSpc>
              <a:spcBef>
                <a:spcPts val="0"/>
              </a:spcBef>
              <a:spcAft>
                <a:spcPts val="0"/>
              </a:spcAft>
              <a:buNone/>
              <a:defRPr sz="1200" b="0" cap="all" spc="100" baseline="0">
                <a:gradFill>
                  <a:gsLst>
                    <a:gs pos="0">
                      <a:srgbClr val="FF4B4B"/>
                    </a:gs>
                    <a:gs pos="100000">
                      <a:srgbClr val="FF744F"/>
                    </a:gs>
                  </a:gsLst>
                  <a:lin ang="18900000" scaled="1"/>
                </a:gra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1" name="subhead 1.2">
            <a:extLst>
              <a:ext uri="{FF2B5EF4-FFF2-40B4-BE49-F238E27FC236}">
                <a16:creationId xmlns:a16="http://schemas.microsoft.com/office/drawing/2014/main" id="{B299DAE8-5EE0-BE0F-0EB7-2E8B2289B134}"/>
              </a:ext>
            </a:extLst>
          </p:cNvPr>
          <p:cNvSpPr>
            <a:spLocks noGrp="1"/>
          </p:cNvSpPr>
          <p:nvPr>
            <p:ph type="body" idx="47"/>
          </p:nvPr>
        </p:nvSpPr>
        <p:spPr>
          <a:xfrm>
            <a:off x="542100" y="3735676"/>
            <a:ext cx="3600000" cy="1439862"/>
          </a:xfrm>
          <a:prstGeom prst="roundRect">
            <a:avLst>
              <a:gd name="adj" fmla="val 5780"/>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52" name="role 1.2">
            <a:extLst>
              <a:ext uri="{FF2B5EF4-FFF2-40B4-BE49-F238E27FC236}">
                <a16:creationId xmlns:a16="http://schemas.microsoft.com/office/drawing/2014/main" id="{B746FD40-314C-3697-899E-05FC1C879DD5}"/>
              </a:ext>
            </a:extLst>
          </p:cNvPr>
          <p:cNvSpPr>
            <a:spLocks noGrp="1"/>
          </p:cNvSpPr>
          <p:nvPr>
            <p:ph type="body" idx="48"/>
          </p:nvPr>
        </p:nvSpPr>
        <p:spPr>
          <a:xfrm>
            <a:off x="2130150" y="4458713"/>
            <a:ext cx="1979612" cy="720000"/>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3" name="name 1.2">
            <a:extLst>
              <a:ext uri="{FF2B5EF4-FFF2-40B4-BE49-F238E27FC236}">
                <a16:creationId xmlns:a16="http://schemas.microsoft.com/office/drawing/2014/main" id="{93DD4974-9E07-4AF9-7BDE-52E99DCCD507}"/>
              </a:ext>
            </a:extLst>
          </p:cNvPr>
          <p:cNvSpPr>
            <a:spLocks noGrp="1"/>
          </p:cNvSpPr>
          <p:nvPr>
            <p:ph type="body" idx="49"/>
          </p:nvPr>
        </p:nvSpPr>
        <p:spPr>
          <a:xfrm>
            <a:off x="2130150" y="3749294"/>
            <a:ext cx="1979612" cy="648000"/>
          </a:xfrm>
        </p:spPr>
        <p:txBody>
          <a:bodyPr lIns="144000" rIns="144000" anchor="b" anchorCtr="0"/>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4" name="picture 1.2">
            <a:extLst>
              <a:ext uri="{FF2B5EF4-FFF2-40B4-BE49-F238E27FC236}">
                <a16:creationId xmlns:a16="http://schemas.microsoft.com/office/drawing/2014/main" id="{8D77766B-F1D5-2967-9D02-8E610BEE28E5}"/>
              </a:ext>
            </a:extLst>
          </p:cNvPr>
          <p:cNvSpPr>
            <a:spLocks noGrp="1"/>
          </p:cNvSpPr>
          <p:nvPr>
            <p:ph type="pic" sz="quarter" idx="50"/>
          </p:nvPr>
        </p:nvSpPr>
        <p:spPr>
          <a:xfrm>
            <a:off x="540000" y="3735289"/>
            <a:ext cx="1584000" cy="1440000"/>
          </a:xfrm>
          <a:custGeom>
            <a:avLst/>
            <a:gdLst>
              <a:gd name="connsiteX0" fmla="*/ 0 w 1584000"/>
              <a:gd name="connsiteY0" fmla="*/ 125712 h 1440000"/>
              <a:gd name="connsiteX1" fmla="*/ 125712 w 1584000"/>
              <a:gd name="connsiteY1" fmla="*/ 0 h 1440000"/>
              <a:gd name="connsiteX2" fmla="*/ 1458288 w 1584000"/>
              <a:gd name="connsiteY2" fmla="*/ 0 h 1440000"/>
              <a:gd name="connsiteX3" fmla="*/ 1584000 w 1584000"/>
              <a:gd name="connsiteY3" fmla="*/ 125712 h 1440000"/>
              <a:gd name="connsiteX4" fmla="*/ 1584000 w 1584000"/>
              <a:gd name="connsiteY4" fmla="*/ 1314288 h 1440000"/>
              <a:gd name="connsiteX5" fmla="*/ 1458288 w 1584000"/>
              <a:gd name="connsiteY5" fmla="*/ 1440000 h 1440000"/>
              <a:gd name="connsiteX6" fmla="*/ 125712 w 1584000"/>
              <a:gd name="connsiteY6" fmla="*/ 1440000 h 1440000"/>
              <a:gd name="connsiteX7" fmla="*/ 0 w 1584000"/>
              <a:gd name="connsiteY7" fmla="*/ 1314288 h 1440000"/>
              <a:gd name="connsiteX8" fmla="*/ 0 w 1584000"/>
              <a:gd name="connsiteY8" fmla="*/ 125712 h 1440000"/>
              <a:gd name="connsiteX0" fmla="*/ 0 w 1612314"/>
              <a:gd name="connsiteY0" fmla="*/ 125712 h 1440000"/>
              <a:gd name="connsiteX1" fmla="*/ 125712 w 1612314"/>
              <a:gd name="connsiteY1" fmla="*/ 0 h 1440000"/>
              <a:gd name="connsiteX2" fmla="*/ 1458288 w 1612314"/>
              <a:gd name="connsiteY2" fmla="*/ 0 h 1440000"/>
              <a:gd name="connsiteX3" fmla="*/ 1584000 w 1612314"/>
              <a:gd name="connsiteY3" fmla="*/ 1314288 h 1440000"/>
              <a:gd name="connsiteX4" fmla="*/ 1458288 w 1612314"/>
              <a:gd name="connsiteY4" fmla="*/ 1440000 h 1440000"/>
              <a:gd name="connsiteX5" fmla="*/ 125712 w 1612314"/>
              <a:gd name="connsiteY5" fmla="*/ 1440000 h 1440000"/>
              <a:gd name="connsiteX6" fmla="*/ 0 w 1612314"/>
              <a:gd name="connsiteY6" fmla="*/ 1314288 h 1440000"/>
              <a:gd name="connsiteX7" fmla="*/ 0 w 1612314"/>
              <a:gd name="connsiteY7" fmla="*/ 125712 h 1440000"/>
              <a:gd name="connsiteX0" fmla="*/ 0 w 1624860"/>
              <a:gd name="connsiteY0" fmla="*/ 125712 h 1440000"/>
              <a:gd name="connsiteX1" fmla="*/ 125712 w 1624860"/>
              <a:gd name="connsiteY1" fmla="*/ 0 h 1440000"/>
              <a:gd name="connsiteX2" fmla="*/ 1458288 w 1624860"/>
              <a:gd name="connsiteY2" fmla="*/ 0 h 1440000"/>
              <a:gd name="connsiteX3" fmla="*/ 1458288 w 1624860"/>
              <a:gd name="connsiteY3" fmla="*/ 1440000 h 1440000"/>
              <a:gd name="connsiteX4" fmla="*/ 125712 w 1624860"/>
              <a:gd name="connsiteY4" fmla="*/ 1440000 h 1440000"/>
              <a:gd name="connsiteX5" fmla="*/ 0 w 1624860"/>
              <a:gd name="connsiteY5" fmla="*/ 1314288 h 1440000"/>
              <a:gd name="connsiteX6" fmla="*/ 0 w 1624860"/>
              <a:gd name="connsiteY6" fmla="*/ 125712 h 1440000"/>
              <a:gd name="connsiteX0" fmla="*/ 0 w 1666043"/>
              <a:gd name="connsiteY0" fmla="*/ 125712 h 1440000"/>
              <a:gd name="connsiteX1" fmla="*/ 125712 w 1666043"/>
              <a:gd name="connsiteY1" fmla="*/ 0 h 1440000"/>
              <a:gd name="connsiteX2" fmla="*/ 1458288 w 1666043"/>
              <a:gd name="connsiteY2" fmla="*/ 0 h 1440000"/>
              <a:gd name="connsiteX3" fmla="*/ 1458288 w 1666043"/>
              <a:gd name="connsiteY3" fmla="*/ 1440000 h 1440000"/>
              <a:gd name="connsiteX4" fmla="*/ 125712 w 1666043"/>
              <a:gd name="connsiteY4" fmla="*/ 1440000 h 1440000"/>
              <a:gd name="connsiteX5" fmla="*/ 0 w 1666043"/>
              <a:gd name="connsiteY5" fmla="*/ 1314288 h 1440000"/>
              <a:gd name="connsiteX6" fmla="*/ 0 w 1666043"/>
              <a:gd name="connsiteY6" fmla="*/ 125712 h 1440000"/>
              <a:gd name="connsiteX0" fmla="*/ 0 w 1714742"/>
              <a:gd name="connsiteY0" fmla="*/ 125712 h 1440000"/>
              <a:gd name="connsiteX1" fmla="*/ 125712 w 1714742"/>
              <a:gd name="connsiteY1" fmla="*/ 0 h 1440000"/>
              <a:gd name="connsiteX2" fmla="*/ 1458288 w 1714742"/>
              <a:gd name="connsiteY2" fmla="*/ 0 h 1440000"/>
              <a:gd name="connsiteX3" fmla="*/ 1458288 w 1714742"/>
              <a:gd name="connsiteY3" fmla="*/ 1440000 h 1440000"/>
              <a:gd name="connsiteX4" fmla="*/ 125712 w 1714742"/>
              <a:gd name="connsiteY4" fmla="*/ 1440000 h 1440000"/>
              <a:gd name="connsiteX5" fmla="*/ 0 w 1714742"/>
              <a:gd name="connsiteY5" fmla="*/ 1314288 h 1440000"/>
              <a:gd name="connsiteX6" fmla="*/ 0 w 1714742"/>
              <a:gd name="connsiteY6" fmla="*/ 125712 h 1440000"/>
              <a:gd name="connsiteX0" fmla="*/ 0 w 1556997"/>
              <a:gd name="connsiteY0" fmla="*/ 125712 h 1440000"/>
              <a:gd name="connsiteX1" fmla="*/ 125712 w 1556997"/>
              <a:gd name="connsiteY1" fmla="*/ 0 h 1440000"/>
              <a:gd name="connsiteX2" fmla="*/ 1458288 w 1556997"/>
              <a:gd name="connsiteY2" fmla="*/ 0 h 1440000"/>
              <a:gd name="connsiteX3" fmla="*/ 1458288 w 1556997"/>
              <a:gd name="connsiteY3" fmla="*/ 1440000 h 1440000"/>
              <a:gd name="connsiteX4" fmla="*/ 125712 w 1556997"/>
              <a:gd name="connsiteY4" fmla="*/ 1440000 h 1440000"/>
              <a:gd name="connsiteX5" fmla="*/ 0 w 1556997"/>
              <a:gd name="connsiteY5" fmla="*/ 1314288 h 1440000"/>
              <a:gd name="connsiteX6" fmla="*/ 0 w 1556997"/>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125712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81867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288" h="1440000">
                <a:moveTo>
                  <a:pt x="0" y="125712"/>
                </a:moveTo>
                <a:cubicBezTo>
                  <a:pt x="0" y="56283"/>
                  <a:pt x="12438" y="0"/>
                  <a:pt x="81867" y="0"/>
                </a:cubicBezTo>
                <a:lnTo>
                  <a:pt x="1458288" y="0"/>
                </a:lnTo>
                <a:lnTo>
                  <a:pt x="1458288" y="1440000"/>
                </a:lnTo>
                <a:lnTo>
                  <a:pt x="75290" y="1440000"/>
                </a:lnTo>
                <a:cubicBezTo>
                  <a:pt x="5861" y="1440000"/>
                  <a:pt x="0" y="1383717"/>
                  <a:pt x="0" y="1314288"/>
                </a:cubicBezTo>
                <a:lnTo>
                  <a:pt x="0" y="125712"/>
                </a:lnTo>
                <a:close/>
              </a:path>
            </a:pathLst>
          </a:custGeom>
          <a:solidFill>
            <a:schemeClr val="bg1"/>
          </a:solidFill>
          <a:effectLst/>
        </p:spPr>
        <p:txBody>
          <a:bodyPr/>
          <a:lstStyle>
            <a:lvl1pPr>
              <a:defRPr lang="en-DE" dirty="0"/>
            </a:lvl1pPr>
          </a:lstStyle>
          <a:p>
            <a:r>
              <a:rPr lang="de-DE"/>
              <a:t>Bild durch Klicken auf Symbol hinzufügen</a:t>
            </a:r>
            <a:endParaRPr lang="en-DE" dirty="0"/>
          </a:p>
        </p:txBody>
      </p:sp>
      <p:sp>
        <p:nvSpPr>
          <p:cNvPr id="55" name="subhead 1">
            <a:extLst>
              <a:ext uri="{FF2B5EF4-FFF2-40B4-BE49-F238E27FC236}">
                <a16:creationId xmlns:a16="http://schemas.microsoft.com/office/drawing/2014/main" id="{83DA22D8-9131-568E-6E2F-B7A56687533C}"/>
              </a:ext>
            </a:extLst>
          </p:cNvPr>
          <p:cNvSpPr>
            <a:spLocks noGrp="1"/>
          </p:cNvSpPr>
          <p:nvPr>
            <p:ph type="body" idx="51"/>
          </p:nvPr>
        </p:nvSpPr>
        <p:spPr>
          <a:xfrm>
            <a:off x="542100" y="2119313"/>
            <a:ext cx="3600000" cy="1439862"/>
          </a:xfrm>
          <a:prstGeom prst="roundRect">
            <a:avLst>
              <a:gd name="adj" fmla="val 5780"/>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56" name="role 1">
            <a:extLst>
              <a:ext uri="{FF2B5EF4-FFF2-40B4-BE49-F238E27FC236}">
                <a16:creationId xmlns:a16="http://schemas.microsoft.com/office/drawing/2014/main" id="{4BDE1970-44C9-ADD3-EE45-3879EA6103C9}"/>
              </a:ext>
            </a:extLst>
          </p:cNvPr>
          <p:cNvSpPr>
            <a:spLocks noGrp="1"/>
          </p:cNvSpPr>
          <p:nvPr>
            <p:ph type="body" idx="52"/>
          </p:nvPr>
        </p:nvSpPr>
        <p:spPr>
          <a:xfrm>
            <a:off x="2130150" y="2839175"/>
            <a:ext cx="1979612" cy="720000"/>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7" name="name 1">
            <a:extLst>
              <a:ext uri="{FF2B5EF4-FFF2-40B4-BE49-F238E27FC236}">
                <a16:creationId xmlns:a16="http://schemas.microsoft.com/office/drawing/2014/main" id="{9C57D439-9620-24B8-87D8-5D3533B43D0E}"/>
              </a:ext>
            </a:extLst>
          </p:cNvPr>
          <p:cNvSpPr>
            <a:spLocks noGrp="1"/>
          </p:cNvSpPr>
          <p:nvPr>
            <p:ph type="body" idx="53"/>
          </p:nvPr>
        </p:nvSpPr>
        <p:spPr>
          <a:xfrm>
            <a:off x="2130150" y="2129755"/>
            <a:ext cx="1979612" cy="648000"/>
          </a:xfrm>
        </p:spPr>
        <p:txBody>
          <a:bodyPr lIns="144000" rIns="144000" anchor="b" anchorCtr="0"/>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8" name="picture 1">
            <a:extLst>
              <a:ext uri="{FF2B5EF4-FFF2-40B4-BE49-F238E27FC236}">
                <a16:creationId xmlns:a16="http://schemas.microsoft.com/office/drawing/2014/main" id="{9FBEFBBA-35B6-CE98-58D2-8F96D15F6FF4}"/>
              </a:ext>
            </a:extLst>
          </p:cNvPr>
          <p:cNvSpPr>
            <a:spLocks noGrp="1"/>
          </p:cNvSpPr>
          <p:nvPr>
            <p:ph type="pic" sz="quarter" idx="54"/>
          </p:nvPr>
        </p:nvSpPr>
        <p:spPr>
          <a:xfrm>
            <a:off x="540000" y="2120107"/>
            <a:ext cx="1584000" cy="1440000"/>
          </a:xfrm>
          <a:custGeom>
            <a:avLst/>
            <a:gdLst>
              <a:gd name="connsiteX0" fmla="*/ 0 w 1584000"/>
              <a:gd name="connsiteY0" fmla="*/ 125712 h 1440000"/>
              <a:gd name="connsiteX1" fmla="*/ 125712 w 1584000"/>
              <a:gd name="connsiteY1" fmla="*/ 0 h 1440000"/>
              <a:gd name="connsiteX2" fmla="*/ 1458288 w 1584000"/>
              <a:gd name="connsiteY2" fmla="*/ 0 h 1440000"/>
              <a:gd name="connsiteX3" fmla="*/ 1584000 w 1584000"/>
              <a:gd name="connsiteY3" fmla="*/ 125712 h 1440000"/>
              <a:gd name="connsiteX4" fmla="*/ 1584000 w 1584000"/>
              <a:gd name="connsiteY4" fmla="*/ 1314288 h 1440000"/>
              <a:gd name="connsiteX5" fmla="*/ 1458288 w 1584000"/>
              <a:gd name="connsiteY5" fmla="*/ 1440000 h 1440000"/>
              <a:gd name="connsiteX6" fmla="*/ 125712 w 1584000"/>
              <a:gd name="connsiteY6" fmla="*/ 1440000 h 1440000"/>
              <a:gd name="connsiteX7" fmla="*/ 0 w 1584000"/>
              <a:gd name="connsiteY7" fmla="*/ 1314288 h 1440000"/>
              <a:gd name="connsiteX8" fmla="*/ 0 w 1584000"/>
              <a:gd name="connsiteY8" fmla="*/ 125712 h 1440000"/>
              <a:gd name="connsiteX0" fmla="*/ 0 w 1612314"/>
              <a:gd name="connsiteY0" fmla="*/ 125712 h 1440000"/>
              <a:gd name="connsiteX1" fmla="*/ 125712 w 1612314"/>
              <a:gd name="connsiteY1" fmla="*/ 0 h 1440000"/>
              <a:gd name="connsiteX2" fmla="*/ 1458288 w 1612314"/>
              <a:gd name="connsiteY2" fmla="*/ 0 h 1440000"/>
              <a:gd name="connsiteX3" fmla="*/ 1584000 w 1612314"/>
              <a:gd name="connsiteY3" fmla="*/ 1314288 h 1440000"/>
              <a:gd name="connsiteX4" fmla="*/ 1458288 w 1612314"/>
              <a:gd name="connsiteY4" fmla="*/ 1440000 h 1440000"/>
              <a:gd name="connsiteX5" fmla="*/ 125712 w 1612314"/>
              <a:gd name="connsiteY5" fmla="*/ 1440000 h 1440000"/>
              <a:gd name="connsiteX6" fmla="*/ 0 w 1612314"/>
              <a:gd name="connsiteY6" fmla="*/ 1314288 h 1440000"/>
              <a:gd name="connsiteX7" fmla="*/ 0 w 1612314"/>
              <a:gd name="connsiteY7" fmla="*/ 125712 h 1440000"/>
              <a:gd name="connsiteX0" fmla="*/ 0 w 1624860"/>
              <a:gd name="connsiteY0" fmla="*/ 125712 h 1440000"/>
              <a:gd name="connsiteX1" fmla="*/ 125712 w 1624860"/>
              <a:gd name="connsiteY1" fmla="*/ 0 h 1440000"/>
              <a:gd name="connsiteX2" fmla="*/ 1458288 w 1624860"/>
              <a:gd name="connsiteY2" fmla="*/ 0 h 1440000"/>
              <a:gd name="connsiteX3" fmla="*/ 1458288 w 1624860"/>
              <a:gd name="connsiteY3" fmla="*/ 1440000 h 1440000"/>
              <a:gd name="connsiteX4" fmla="*/ 125712 w 1624860"/>
              <a:gd name="connsiteY4" fmla="*/ 1440000 h 1440000"/>
              <a:gd name="connsiteX5" fmla="*/ 0 w 1624860"/>
              <a:gd name="connsiteY5" fmla="*/ 1314288 h 1440000"/>
              <a:gd name="connsiteX6" fmla="*/ 0 w 1624860"/>
              <a:gd name="connsiteY6" fmla="*/ 125712 h 1440000"/>
              <a:gd name="connsiteX0" fmla="*/ 0 w 1666043"/>
              <a:gd name="connsiteY0" fmla="*/ 125712 h 1440000"/>
              <a:gd name="connsiteX1" fmla="*/ 125712 w 1666043"/>
              <a:gd name="connsiteY1" fmla="*/ 0 h 1440000"/>
              <a:gd name="connsiteX2" fmla="*/ 1458288 w 1666043"/>
              <a:gd name="connsiteY2" fmla="*/ 0 h 1440000"/>
              <a:gd name="connsiteX3" fmla="*/ 1458288 w 1666043"/>
              <a:gd name="connsiteY3" fmla="*/ 1440000 h 1440000"/>
              <a:gd name="connsiteX4" fmla="*/ 125712 w 1666043"/>
              <a:gd name="connsiteY4" fmla="*/ 1440000 h 1440000"/>
              <a:gd name="connsiteX5" fmla="*/ 0 w 1666043"/>
              <a:gd name="connsiteY5" fmla="*/ 1314288 h 1440000"/>
              <a:gd name="connsiteX6" fmla="*/ 0 w 1666043"/>
              <a:gd name="connsiteY6" fmla="*/ 125712 h 1440000"/>
              <a:gd name="connsiteX0" fmla="*/ 0 w 1714742"/>
              <a:gd name="connsiteY0" fmla="*/ 125712 h 1440000"/>
              <a:gd name="connsiteX1" fmla="*/ 125712 w 1714742"/>
              <a:gd name="connsiteY1" fmla="*/ 0 h 1440000"/>
              <a:gd name="connsiteX2" fmla="*/ 1458288 w 1714742"/>
              <a:gd name="connsiteY2" fmla="*/ 0 h 1440000"/>
              <a:gd name="connsiteX3" fmla="*/ 1458288 w 1714742"/>
              <a:gd name="connsiteY3" fmla="*/ 1440000 h 1440000"/>
              <a:gd name="connsiteX4" fmla="*/ 125712 w 1714742"/>
              <a:gd name="connsiteY4" fmla="*/ 1440000 h 1440000"/>
              <a:gd name="connsiteX5" fmla="*/ 0 w 1714742"/>
              <a:gd name="connsiteY5" fmla="*/ 1314288 h 1440000"/>
              <a:gd name="connsiteX6" fmla="*/ 0 w 1714742"/>
              <a:gd name="connsiteY6" fmla="*/ 125712 h 1440000"/>
              <a:gd name="connsiteX0" fmla="*/ 0 w 1556997"/>
              <a:gd name="connsiteY0" fmla="*/ 125712 h 1440000"/>
              <a:gd name="connsiteX1" fmla="*/ 125712 w 1556997"/>
              <a:gd name="connsiteY1" fmla="*/ 0 h 1440000"/>
              <a:gd name="connsiteX2" fmla="*/ 1458288 w 1556997"/>
              <a:gd name="connsiteY2" fmla="*/ 0 h 1440000"/>
              <a:gd name="connsiteX3" fmla="*/ 1458288 w 1556997"/>
              <a:gd name="connsiteY3" fmla="*/ 1440000 h 1440000"/>
              <a:gd name="connsiteX4" fmla="*/ 125712 w 1556997"/>
              <a:gd name="connsiteY4" fmla="*/ 1440000 h 1440000"/>
              <a:gd name="connsiteX5" fmla="*/ 0 w 1556997"/>
              <a:gd name="connsiteY5" fmla="*/ 1314288 h 1440000"/>
              <a:gd name="connsiteX6" fmla="*/ 0 w 1556997"/>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125712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81867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288" h="1440000">
                <a:moveTo>
                  <a:pt x="0" y="125712"/>
                </a:moveTo>
                <a:cubicBezTo>
                  <a:pt x="0" y="56283"/>
                  <a:pt x="12438" y="0"/>
                  <a:pt x="81867" y="0"/>
                </a:cubicBezTo>
                <a:lnTo>
                  <a:pt x="1458288" y="0"/>
                </a:lnTo>
                <a:lnTo>
                  <a:pt x="1458288" y="1440000"/>
                </a:lnTo>
                <a:lnTo>
                  <a:pt x="75290" y="1440000"/>
                </a:lnTo>
                <a:cubicBezTo>
                  <a:pt x="5861" y="1440000"/>
                  <a:pt x="0" y="1383717"/>
                  <a:pt x="0" y="1314288"/>
                </a:cubicBezTo>
                <a:lnTo>
                  <a:pt x="0" y="125712"/>
                </a:lnTo>
                <a:close/>
              </a:path>
            </a:pathLst>
          </a:custGeom>
          <a:solidFill>
            <a:schemeClr val="bg1"/>
          </a:solidFill>
          <a:effectLst/>
        </p:spPr>
        <p:txBody>
          <a:bodyPr/>
          <a:lstStyle>
            <a:lvl1pPr>
              <a:defRPr lang="en-DE" dirty="0"/>
            </a:lvl1pPr>
          </a:lstStyle>
          <a:p>
            <a:r>
              <a:rPr lang="de-DE"/>
              <a:t>Bild durch Klicken auf Symbol hinzufügen</a:t>
            </a:r>
            <a:endParaRPr lang="en-DE" dirty="0"/>
          </a:p>
        </p:txBody>
      </p:sp>
      <p:sp>
        <p:nvSpPr>
          <p:cNvPr id="2" name="name 1">
            <a:extLst>
              <a:ext uri="{FF2B5EF4-FFF2-40B4-BE49-F238E27FC236}">
                <a16:creationId xmlns:a16="http://schemas.microsoft.com/office/drawing/2014/main" id="{E1C428F9-ED39-3296-3569-1B7720A02641}"/>
              </a:ext>
            </a:extLst>
          </p:cNvPr>
          <p:cNvSpPr>
            <a:spLocks noGrp="1"/>
          </p:cNvSpPr>
          <p:nvPr>
            <p:ph type="body" idx="67"/>
          </p:nvPr>
        </p:nvSpPr>
        <p:spPr>
          <a:xfrm>
            <a:off x="540000" y="1512000"/>
            <a:ext cx="3600000" cy="360000"/>
          </a:xfrm>
        </p:spPr>
        <p:txBody>
          <a:bodyPr lIns="0" rIns="0" anchor="b" anchorCtr="0"/>
          <a:lstStyle>
            <a:lvl1pPr marL="0" indent="0" algn="l">
              <a:lnSpc>
                <a:spcPts val="1400"/>
              </a:lnSpc>
              <a:spcBef>
                <a:spcPts val="0"/>
              </a:spcBef>
              <a:spcAft>
                <a:spcPts val="0"/>
              </a:spcAft>
              <a:buNone/>
              <a:defRPr sz="1200" b="0" cap="all" spc="100" baseline="0">
                <a:gradFill>
                  <a:gsLst>
                    <a:gs pos="0">
                      <a:srgbClr val="FF4B4B"/>
                    </a:gs>
                    <a:gs pos="100000">
                      <a:srgbClr val="FF744F"/>
                    </a:gs>
                  </a:gsLst>
                  <a:lin ang="18900000" scaled="1"/>
                </a:gra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7" name="title">
            <a:extLst>
              <a:ext uri="{FF2B5EF4-FFF2-40B4-BE49-F238E27FC236}">
                <a16:creationId xmlns:a16="http://schemas.microsoft.com/office/drawing/2014/main" id="{4E344807-457D-3CED-9971-F478B70A69F3}"/>
              </a:ext>
            </a:extLst>
          </p:cNvPr>
          <p:cNvSpPr>
            <a:spLocks noGrp="1"/>
          </p:cNvSpPr>
          <p:nvPr>
            <p:ph type="title"/>
          </p:nvPr>
        </p:nvSpPr>
        <p:spPr/>
        <p:txBody>
          <a:bodyPr vert="horz"/>
          <a:lstStyle/>
          <a:p>
            <a:r>
              <a:rPr lang="de-DE"/>
              <a:t>Mastertitelformat bearbeiten</a:t>
            </a:r>
            <a:endParaRPr lang="en-US"/>
          </a:p>
        </p:txBody>
      </p:sp>
      <p:sp>
        <p:nvSpPr>
          <p:cNvPr id="4" name="navigation">
            <a:extLst>
              <a:ext uri="{FF2B5EF4-FFF2-40B4-BE49-F238E27FC236}">
                <a16:creationId xmlns:a16="http://schemas.microsoft.com/office/drawing/2014/main" id="{3CCF9C9E-CC68-9C72-1637-DC78701B6BD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441268582"/>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   049 : team : 5 pictures : 5 names and roles">
    <p:spTree>
      <p:nvGrpSpPr>
        <p:cNvPr id="1" name=""/>
        <p:cNvGrpSpPr/>
        <p:nvPr/>
      </p:nvGrpSpPr>
      <p:grpSpPr>
        <a:xfrm>
          <a:off x="0" y="0"/>
          <a:ext cx="0" cy="0"/>
          <a:chOff x="0" y="0"/>
          <a:chExt cx="0" cy="0"/>
        </a:xfrm>
      </p:grpSpPr>
      <p:sp>
        <p:nvSpPr>
          <p:cNvPr id="10" name="slide number">
            <a:extLst>
              <a:ext uri="{FF2B5EF4-FFF2-40B4-BE49-F238E27FC236}">
                <a16:creationId xmlns:a16="http://schemas.microsoft.com/office/drawing/2014/main" id="{806DED45-4BC7-C6F5-F26F-6CD59EA5B6A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B32839BA-2D56-A01B-FE5C-F161B633535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9" name="date">
            <a:extLst>
              <a:ext uri="{FF2B5EF4-FFF2-40B4-BE49-F238E27FC236}">
                <a16:creationId xmlns:a16="http://schemas.microsoft.com/office/drawing/2014/main" id="{50109232-4643-9278-B176-335653E00909}"/>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6" name="subhead 5">
            <a:extLst>
              <a:ext uri="{FF2B5EF4-FFF2-40B4-BE49-F238E27FC236}">
                <a16:creationId xmlns:a16="http://schemas.microsoft.com/office/drawing/2014/main" id="{4E1C1AAF-A0BE-06A6-F614-641D5BEB518A}"/>
              </a:ext>
            </a:extLst>
          </p:cNvPr>
          <p:cNvSpPr>
            <a:spLocks noGrp="1"/>
          </p:cNvSpPr>
          <p:nvPr>
            <p:ph type="body" idx="30"/>
          </p:nvPr>
        </p:nvSpPr>
        <p:spPr>
          <a:xfrm>
            <a:off x="9646450" y="1989138"/>
            <a:ext cx="1980000" cy="4176712"/>
          </a:xfrm>
          <a:prstGeom prst="roundRect">
            <a:avLst>
              <a:gd name="adj" fmla="val 503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sz="1000"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33" name="text 5">
            <a:extLst>
              <a:ext uri="{FF2B5EF4-FFF2-40B4-BE49-F238E27FC236}">
                <a16:creationId xmlns:a16="http://schemas.microsoft.com/office/drawing/2014/main" id="{17C954FA-43AD-EB36-53A4-5094CC436D7A}"/>
              </a:ext>
            </a:extLst>
          </p:cNvPr>
          <p:cNvSpPr>
            <a:spLocks noGrp="1"/>
          </p:cNvSpPr>
          <p:nvPr>
            <p:ph type="body" sz="quarter" idx="46"/>
          </p:nvPr>
        </p:nvSpPr>
        <p:spPr>
          <a:xfrm>
            <a:off x="9646450" y="4869138"/>
            <a:ext cx="1980000" cy="1296712"/>
          </a:xfrm>
        </p:spPr>
        <p:txBody>
          <a:bodyPr lIns="144000" rIns="72000"/>
          <a:lstStyle>
            <a:lvl1pPr>
              <a:lnSpc>
                <a:spcPts val="1200"/>
              </a:lnSpc>
              <a:spcBef>
                <a:spcPts val="200"/>
              </a:spcBef>
              <a:spcAft>
                <a:spcPts val="200"/>
              </a:spcAft>
              <a:defRPr sz="1000"/>
            </a:lvl1pPr>
            <a:lvl2pPr>
              <a:lnSpc>
                <a:spcPts val="1200"/>
              </a:lnSpc>
              <a:spcBef>
                <a:spcPts val="200"/>
              </a:spcBef>
              <a:spcAft>
                <a:spcPts val="200"/>
              </a:spcAft>
              <a:defRPr sz="1000"/>
            </a:lvl2pPr>
            <a:lvl3pPr>
              <a:lnSpc>
                <a:spcPts val="1200"/>
              </a:lnSpc>
              <a:spcBef>
                <a:spcPts val="200"/>
              </a:spcBef>
              <a:spcAft>
                <a:spcPts val="200"/>
              </a:spcAft>
              <a:defRPr sz="1000"/>
            </a:lvl3pPr>
            <a:lvl4pPr>
              <a:lnSpc>
                <a:spcPts val="1200"/>
              </a:lnSpc>
              <a:spcBef>
                <a:spcPts val="200"/>
              </a:spcBef>
              <a:spcAft>
                <a:spcPts val="200"/>
              </a:spcAft>
              <a:defRPr sz="1000"/>
            </a:lvl4pPr>
            <a:lvl5pPr>
              <a:lnSpc>
                <a:spcPts val="1200"/>
              </a:lnSpc>
              <a:spcBef>
                <a:spcPts val="200"/>
              </a:spcBef>
              <a:spcAft>
                <a:spcPts val="200"/>
              </a:spcAft>
              <a:defRPr sz="1000"/>
            </a:lvl5pPr>
            <a:lvl6pPr>
              <a:lnSpc>
                <a:spcPts val="1200"/>
              </a:lnSpc>
              <a:spcBef>
                <a:spcPts val="200"/>
              </a:spcBef>
              <a:spcAft>
                <a:spcPts val="200"/>
              </a:spcAft>
              <a:defRPr sz="1200"/>
            </a:lvl6pPr>
            <a:lvl7pPr>
              <a:lnSpc>
                <a:spcPts val="1200"/>
              </a:lnSpc>
              <a:spcBef>
                <a:spcPts val="200"/>
              </a:spcBef>
              <a:spcAft>
                <a:spcPts val="200"/>
              </a:spcAft>
              <a:defRPr sz="1200"/>
            </a:lvl7pPr>
            <a:lvl8pPr>
              <a:lnSpc>
                <a:spcPts val="1200"/>
              </a:lnSpc>
              <a:spcBef>
                <a:spcPts val="200"/>
              </a:spcBef>
              <a:spcAft>
                <a:spcPts val="200"/>
              </a:spcAft>
              <a:defRPr sz="1200"/>
            </a:lvl8pPr>
            <a:lvl9pPr>
              <a:lnSpc>
                <a:spcPts val="1200"/>
              </a:lnSpc>
              <a:spcBef>
                <a:spcPts val="200"/>
              </a:spcBef>
              <a:spcAft>
                <a:spcPts val="200"/>
              </a:spcAft>
              <a:defRPr sz="1200"/>
            </a:lvl9pPr>
          </a:lstStyle>
          <a:p>
            <a:pPr lvl="0"/>
            <a:r>
              <a:rPr lang="de-DE"/>
              <a:t>Mastertextformat bearbeiten</a:t>
            </a:r>
          </a:p>
        </p:txBody>
      </p:sp>
      <p:sp>
        <p:nvSpPr>
          <p:cNvPr id="28" name="role 5">
            <a:extLst>
              <a:ext uri="{FF2B5EF4-FFF2-40B4-BE49-F238E27FC236}">
                <a16:creationId xmlns:a16="http://schemas.microsoft.com/office/drawing/2014/main" id="{97D658EF-A00F-7DBB-D679-DDF7058203BF}"/>
              </a:ext>
            </a:extLst>
          </p:cNvPr>
          <p:cNvSpPr>
            <a:spLocks noGrp="1"/>
          </p:cNvSpPr>
          <p:nvPr>
            <p:ph type="body" idx="41"/>
          </p:nvPr>
        </p:nvSpPr>
        <p:spPr>
          <a:xfrm>
            <a:off x="9646450" y="4365972"/>
            <a:ext cx="1979612"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9" name="name 5">
            <a:extLst>
              <a:ext uri="{FF2B5EF4-FFF2-40B4-BE49-F238E27FC236}">
                <a16:creationId xmlns:a16="http://schemas.microsoft.com/office/drawing/2014/main" id="{4159ED2E-B4DC-9421-4A49-F72FAA7D1B81}"/>
              </a:ext>
            </a:extLst>
          </p:cNvPr>
          <p:cNvSpPr>
            <a:spLocks noGrp="1"/>
          </p:cNvSpPr>
          <p:nvPr>
            <p:ph type="body" idx="42"/>
          </p:nvPr>
        </p:nvSpPr>
        <p:spPr>
          <a:xfrm>
            <a:off x="9646450" y="3925774"/>
            <a:ext cx="1979612" cy="360000"/>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9" name="picture 5">
            <a:extLst>
              <a:ext uri="{FF2B5EF4-FFF2-40B4-BE49-F238E27FC236}">
                <a16:creationId xmlns:a16="http://schemas.microsoft.com/office/drawing/2014/main" id="{A8AC1CB6-247B-124F-1A7A-0B5624FB892A}"/>
              </a:ext>
            </a:extLst>
          </p:cNvPr>
          <p:cNvSpPr>
            <a:spLocks noGrp="1"/>
          </p:cNvSpPr>
          <p:nvPr>
            <p:ph type="pic" sz="quarter" idx="32"/>
          </p:nvPr>
        </p:nvSpPr>
        <p:spPr>
          <a:xfrm>
            <a:off x="9648000" y="1989138"/>
            <a:ext cx="1980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35" name="name 5">
            <a:extLst>
              <a:ext uri="{FF2B5EF4-FFF2-40B4-BE49-F238E27FC236}">
                <a16:creationId xmlns:a16="http://schemas.microsoft.com/office/drawing/2014/main" id="{74C3C0E1-BE63-8667-4822-DC87CF13CFB1}"/>
              </a:ext>
            </a:extLst>
          </p:cNvPr>
          <p:cNvSpPr>
            <a:spLocks noGrp="1"/>
          </p:cNvSpPr>
          <p:nvPr>
            <p:ph type="body" idx="47"/>
          </p:nvPr>
        </p:nvSpPr>
        <p:spPr>
          <a:xfrm>
            <a:off x="9646450" y="1512000"/>
            <a:ext cx="1979612" cy="360000"/>
          </a:xfrm>
        </p:spPr>
        <p:txBody>
          <a:bodyPr lIns="0" rIns="0" anchor="b" anchorCtr="0"/>
          <a:lstStyle>
            <a:lvl1pPr marL="0" indent="0" algn="l">
              <a:lnSpc>
                <a:spcPts val="1400"/>
              </a:lnSpc>
              <a:spcBef>
                <a:spcPts val="0"/>
              </a:spcBef>
              <a:spcAft>
                <a:spcPts val="0"/>
              </a:spcAft>
              <a:buNone/>
              <a:defRPr lang="en-US" sz="1200" b="0" kern="1200" cap="all" spc="100" baseline="0" noProof="0">
                <a:gradFill>
                  <a:gsLst>
                    <a:gs pos="0">
                      <a:srgbClr val="FF4B4B"/>
                    </a:gs>
                    <a:gs pos="100000">
                      <a:srgbClr val="FF744F"/>
                    </a:gs>
                  </a:gsLst>
                  <a:lin ang="18900000" scaled="1"/>
                </a:gradFill>
                <a:latin typeface="Segoe UI Semibold" panose="020B0702040204020203" pitchFamily="34" charset="0"/>
                <a:ea typeface="+mn-ea"/>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400"/>
              </a:lnSpc>
              <a:spcBef>
                <a:spcPts val="0"/>
              </a:spcBef>
              <a:spcAft>
                <a:spcPts val="0"/>
              </a:spcAft>
              <a:buClr>
                <a:schemeClr val="accent2"/>
              </a:buClr>
              <a:buSzPct val="100000"/>
              <a:buFont typeface="Verdana" panose="020B0604030504040204" pitchFamily="34" charset="0"/>
              <a:buNone/>
              <a:tabLst>
                <a:tab pos="182563" algn="l"/>
              </a:tabLst>
            </a:pPr>
            <a:r>
              <a:rPr lang="de-DE"/>
              <a:t>Mastertextformat bearbeiten</a:t>
            </a:r>
          </a:p>
        </p:txBody>
      </p:sp>
      <p:sp>
        <p:nvSpPr>
          <p:cNvPr id="2" name="subhead 4">
            <a:extLst>
              <a:ext uri="{FF2B5EF4-FFF2-40B4-BE49-F238E27FC236}">
                <a16:creationId xmlns:a16="http://schemas.microsoft.com/office/drawing/2014/main" id="{2E60EAAC-E319-6243-2FAB-917688217B61}"/>
              </a:ext>
            </a:extLst>
          </p:cNvPr>
          <p:cNvSpPr>
            <a:spLocks noGrp="1"/>
          </p:cNvSpPr>
          <p:nvPr>
            <p:ph type="body" idx="27"/>
          </p:nvPr>
        </p:nvSpPr>
        <p:spPr>
          <a:xfrm>
            <a:off x="7371000" y="1989138"/>
            <a:ext cx="1980000" cy="4176712"/>
          </a:xfrm>
          <a:prstGeom prst="roundRect">
            <a:avLst>
              <a:gd name="adj" fmla="val 503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32" name="text 4">
            <a:extLst>
              <a:ext uri="{FF2B5EF4-FFF2-40B4-BE49-F238E27FC236}">
                <a16:creationId xmlns:a16="http://schemas.microsoft.com/office/drawing/2014/main" id="{A19B5ABD-384E-EA78-F0C0-AAC4E909FA05}"/>
              </a:ext>
            </a:extLst>
          </p:cNvPr>
          <p:cNvSpPr>
            <a:spLocks noGrp="1"/>
          </p:cNvSpPr>
          <p:nvPr>
            <p:ph type="body" sz="quarter" idx="45"/>
          </p:nvPr>
        </p:nvSpPr>
        <p:spPr>
          <a:xfrm>
            <a:off x="7369838" y="4869138"/>
            <a:ext cx="1980000" cy="1296712"/>
          </a:xfrm>
        </p:spPr>
        <p:txBody>
          <a:bodyPr lIns="144000" rIns="72000"/>
          <a:lstStyle>
            <a:lvl1pPr>
              <a:lnSpc>
                <a:spcPts val="1200"/>
              </a:lnSpc>
              <a:spcBef>
                <a:spcPts val="200"/>
              </a:spcBef>
              <a:spcAft>
                <a:spcPts val="200"/>
              </a:spcAft>
              <a:defRPr sz="1000"/>
            </a:lvl1pPr>
            <a:lvl2pPr>
              <a:lnSpc>
                <a:spcPts val="1200"/>
              </a:lnSpc>
              <a:spcBef>
                <a:spcPts val="200"/>
              </a:spcBef>
              <a:spcAft>
                <a:spcPts val="200"/>
              </a:spcAft>
              <a:defRPr sz="1000"/>
            </a:lvl2pPr>
            <a:lvl3pPr>
              <a:lnSpc>
                <a:spcPts val="1200"/>
              </a:lnSpc>
              <a:spcBef>
                <a:spcPts val="200"/>
              </a:spcBef>
              <a:spcAft>
                <a:spcPts val="200"/>
              </a:spcAft>
              <a:defRPr sz="1000"/>
            </a:lvl3pPr>
            <a:lvl4pPr>
              <a:lnSpc>
                <a:spcPts val="1200"/>
              </a:lnSpc>
              <a:spcBef>
                <a:spcPts val="200"/>
              </a:spcBef>
              <a:spcAft>
                <a:spcPts val="200"/>
              </a:spcAft>
              <a:defRPr sz="1000"/>
            </a:lvl4pPr>
            <a:lvl5pPr>
              <a:lnSpc>
                <a:spcPts val="1200"/>
              </a:lnSpc>
              <a:spcBef>
                <a:spcPts val="200"/>
              </a:spcBef>
              <a:spcAft>
                <a:spcPts val="200"/>
              </a:spcAft>
              <a:defRPr sz="1000"/>
            </a:lvl5pPr>
            <a:lvl6pPr>
              <a:lnSpc>
                <a:spcPts val="1200"/>
              </a:lnSpc>
              <a:spcBef>
                <a:spcPts val="200"/>
              </a:spcBef>
              <a:spcAft>
                <a:spcPts val="200"/>
              </a:spcAft>
              <a:defRPr sz="1200"/>
            </a:lvl6pPr>
            <a:lvl7pPr>
              <a:lnSpc>
                <a:spcPts val="1200"/>
              </a:lnSpc>
              <a:spcBef>
                <a:spcPts val="200"/>
              </a:spcBef>
              <a:spcAft>
                <a:spcPts val="200"/>
              </a:spcAft>
              <a:defRPr sz="1200"/>
            </a:lvl7pPr>
            <a:lvl8pPr>
              <a:lnSpc>
                <a:spcPts val="1200"/>
              </a:lnSpc>
              <a:spcBef>
                <a:spcPts val="200"/>
              </a:spcBef>
              <a:spcAft>
                <a:spcPts val="200"/>
              </a:spcAft>
              <a:defRPr sz="1200"/>
            </a:lvl8pPr>
            <a:lvl9pPr>
              <a:lnSpc>
                <a:spcPts val="1200"/>
              </a:lnSpc>
              <a:spcBef>
                <a:spcPts val="200"/>
              </a:spcBef>
              <a:spcAft>
                <a:spcPts val="200"/>
              </a:spcAft>
              <a:defRPr sz="1200"/>
            </a:lvl9pPr>
          </a:lstStyle>
          <a:p>
            <a:pPr lvl="0"/>
            <a:r>
              <a:rPr lang="de-DE"/>
              <a:t>Mastertextformat bearbeiten</a:t>
            </a:r>
          </a:p>
        </p:txBody>
      </p:sp>
      <p:sp>
        <p:nvSpPr>
          <p:cNvPr id="26" name="role 4">
            <a:extLst>
              <a:ext uri="{FF2B5EF4-FFF2-40B4-BE49-F238E27FC236}">
                <a16:creationId xmlns:a16="http://schemas.microsoft.com/office/drawing/2014/main" id="{E724F387-97F8-EF43-10D3-1A269E7A6CAF}"/>
              </a:ext>
            </a:extLst>
          </p:cNvPr>
          <p:cNvSpPr>
            <a:spLocks noGrp="1"/>
          </p:cNvSpPr>
          <p:nvPr>
            <p:ph type="body" idx="39"/>
          </p:nvPr>
        </p:nvSpPr>
        <p:spPr>
          <a:xfrm>
            <a:off x="7371000" y="4365972"/>
            <a:ext cx="1979612"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7" name="name 4">
            <a:extLst>
              <a:ext uri="{FF2B5EF4-FFF2-40B4-BE49-F238E27FC236}">
                <a16:creationId xmlns:a16="http://schemas.microsoft.com/office/drawing/2014/main" id="{93368B83-F4A5-3024-C521-5C72B7BD97B3}"/>
              </a:ext>
            </a:extLst>
          </p:cNvPr>
          <p:cNvSpPr>
            <a:spLocks noGrp="1"/>
          </p:cNvSpPr>
          <p:nvPr>
            <p:ph type="body" idx="40"/>
          </p:nvPr>
        </p:nvSpPr>
        <p:spPr>
          <a:xfrm>
            <a:off x="7371000" y="3925774"/>
            <a:ext cx="1979612" cy="360000"/>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 name="picture 4">
            <a:extLst>
              <a:ext uri="{FF2B5EF4-FFF2-40B4-BE49-F238E27FC236}">
                <a16:creationId xmlns:a16="http://schemas.microsoft.com/office/drawing/2014/main" id="{ED5FC855-3CBD-1480-193E-6226E97D0A53}"/>
              </a:ext>
            </a:extLst>
          </p:cNvPr>
          <p:cNvSpPr>
            <a:spLocks noGrp="1"/>
          </p:cNvSpPr>
          <p:nvPr>
            <p:ph type="pic" sz="quarter" idx="29"/>
          </p:nvPr>
        </p:nvSpPr>
        <p:spPr>
          <a:xfrm>
            <a:off x="7371000" y="1989138"/>
            <a:ext cx="1980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36" name="name 4">
            <a:extLst>
              <a:ext uri="{FF2B5EF4-FFF2-40B4-BE49-F238E27FC236}">
                <a16:creationId xmlns:a16="http://schemas.microsoft.com/office/drawing/2014/main" id="{4C0A7D5A-161A-484D-80C2-40B4C19CC3A8}"/>
              </a:ext>
            </a:extLst>
          </p:cNvPr>
          <p:cNvSpPr>
            <a:spLocks noGrp="1"/>
          </p:cNvSpPr>
          <p:nvPr>
            <p:ph type="body" idx="48"/>
          </p:nvPr>
        </p:nvSpPr>
        <p:spPr>
          <a:xfrm>
            <a:off x="7371000" y="1512000"/>
            <a:ext cx="1979612" cy="360000"/>
          </a:xfrm>
        </p:spPr>
        <p:txBody>
          <a:bodyPr lIns="0" rIns="0" anchor="b" anchorCtr="0"/>
          <a:lstStyle>
            <a:lvl1pPr marL="0" indent="0" algn="l">
              <a:lnSpc>
                <a:spcPts val="1400"/>
              </a:lnSpc>
              <a:spcBef>
                <a:spcPts val="0"/>
              </a:spcBef>
              <a:spcAft>
                <a:spcPts val="0"/>
              </a:spcAft>
              <a:buNone/>
              <a:defRPr lang="en-US" sz="1200" b="0" kern="1200" cap="all" spc="100" baseline="0" noProof="0">
                <a:gradFill>
                  <a:gsLst>
                    <a:gs pos="0">
                      <a:srgbClr val="FF4B4B"/>
                    </a:gs>
                    <a:gs pos="100000">
                      <a:srgbClr val="FF744F"/>
                    </a:gs>
                  </a:gsLst>
                  <a:lin ang="18900000" scaled="1"/>
                </a:gradFill>
                <a:latin typeface="Segoe UI Semibold" panose="020B0702040204020203" pitchFamily="34" charset="0"/>
                <a:ea typeface="+mn-ea"/>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400"/>
              </a:lnSpc>
              <a:spcBef>
                <a:spcPts val="0"/>
              </a:spcBef>
              <a:spcAft>
                <a:spcPts val="0"/>
              </a:spcAft>
              <a:buClr>
                <a:schemeClr val="accent2"/>
              </a:buClr>
              <a:buSzPct val="100000"/>
              <a:buFont typeface="Verdana" panose="020B0604030504040204" pitchFamily="34" charset="0"/>
              <a:buNone/>
              <a:tabLst>
                <a:tab pos="182563" algn="l"/>
              </a:tabLst>
            </a:pPr>
            <a:r>
              <a:rPr lang="de-DE"/>
              <a:t>Mastertextformat bearbeiten</a:t>
            </a:r>
          </a:p>
        </p:txBody>
      </p:sp>
      <p:sp>
        <p:nvSpPr>
          <p:cNvPr id="93" name="subhead 3">
            <a:extLst>
              <a:ext uri="{FF2B5EF4-FFF2-40B4-BE49-F238E27FC236}">
                <a16:creationId xmlns:a16="http://schemas.microsoft.com/office/drawing/2014/main" id="{A621FD8A-0372-D7B0-7589-D502248B5856}"/>
              </a:ext>
            </a:extLst>
          </p:cNvPr>
          <p:cNvSpPr>
            <a:spLocks noGrp="1"/>
          </p:cNvSpPr>
          <p:nvPr>
            <p:ph type="body" idx="18"/>
          </p:nvPr>
        </p:nvSpPr>
        <p:spPr>
          <a:xfrm>
            <a:off x="5094000" y="1989138"/>
            <a:ext cx="1980000" cy="4176712"/>
          </a:xfrm>
          <a:prstGeom prst="roundRect">
            <a:avLst>
              <a:gd name="adj" fmla="val 503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31" name="text 3">
            <a:extLst>
              <a:ext uri="{FF2B5EF4-FFF2-40B4-BE49-F238E27FC236}">
                <a16:creationId xmlns:a16="http://schemas.microsoft.com/office/drawing/2014/main" id="{22D284A5-9502-B58F-70AF-85E8C654CBA8}"/>
              </a:ext>
            </a:extLst>
          </p:cNvPr>
          <p:cNvSpPr>
            <a:spLocks noGrp="1"/>
          </p:cNvSpPr>
          <p:nvPr>
            <p:ph type="body" sz="quarter" idx="44"/>
          </p:nvPr>
        </p:nvSpPr>
        <p:spPr>
          <a:xfrm>
            <a:off x="5093226" y="4869138"/>
            <a:ext cx="1980000" cy="1296712"/>
          </a:xfrm>
        </p:spPr>
        <p:txBody>
          <a:bodyPr lIns="144000" rIns="72000"/>
          <a:lstStyle>
            <a:lvl1pPr>
              <a:lnSpc>
                <a:spcPts val="1200"/>
              </a:lnSpc>
              <a:spcBef>
                <a:spcPts val="200"/>
              </a:spcBef>
              <a:spcAft>
                <a:spcPts val="200"/>
              </a:spcAft>
              <a:defRPr sz="1000"/>
            </a:lvl1pPr>
            <a:lvl2pPr>
              <a:lnSpc>
                <a:spcPts val="1200"/>
              </a:lnSpc>
              <a:spcBef>
                <a:spcPts val="200"/>
              </a:spcBef>
              <a:spcAft>
                <a:spcPts val="200"/>
              </a:spcAft>
              <a:defRPr sz="1000"/>
            </a:lvl2pPr>
            <a:lvl3pPr>
              <a:lnSpc>
                <a:spcPts val="1200"/>
              </a:lnSpc>
              <a:spcBef>
                <a:spcPts val="200"/>
              </a:spcBef>
              <a:spcAft>
                <a:spcPts val="200"/>
              </a:spcAft>
              <a:defRPr sz="1000"/>
            </a:lvl3pPr>
            <a:lvl4pPr>
              <a:lnSpc>
                <a:spcPts val="1200"/>
              </a:lnSpc>
              <a:spcBef>
                <a:spcPts val="200"/>
              </a:spcBef>
              <a:spcAft>
                <a:spcPts val="200"/>
              </a:spcAft>
              <a:defRPr sz="1000"/>
            </a:lvl4pPr>
            <a:lvl5pPr>
              <a:lnSpc>
                <a:spcPts val="1200"/>
              </a:lnSpc>
              <a:spcBef>
                <a:spcPts val="200"/>
              </a:spcBef>
              <a:spcAft>
                <a:spcPts val="200"/>
              </a:spcAft>
              <a:defRPr sz="1000"/>
            </a:lvl5pPr>
            <a:lvl6pPr>
              <a:lnSpc>
                <a:spcPts val="1200"/>
              </a:lnSpc>
              <a:spcBef>
                <a:spcPts val="200"/>
              </a:spcBef>
              <a:spcAft>
                <a:spcPts val="200"/>
              </a:spcAft>
              <a:defRPr sz="1200"/>
            </a:lvl6pPr>
            <a:lvl7pPr>
              <a:lnSpc>
                <a:spcPts val="1200"/>
              </a:lnSpc>
              <a:spcBef>
                <a:spcPts val="200"/>
              </a:spcBef>
              <a:spcAft>
                <a:spcPts val="200"/>
              </a:spcAft>
              <a:defRPr sz="1200"/>
            </a:lvl7pPr>
            <a:lvl8pPr>
              <a:lnSpc>
                <a:spcPts val="1200"/>
              </a:lnSpc>
              <a:spcBef>
                <a:spcPts val="200"/>
              </a:spcBef>
              <a:spcAft>
                <a:spcPts val="200"/>
              </a:spcAft>
              <a:defRPr sz="1200"/>
            </a:lvl8pPr>
            <a:lvl9pPr>
              <a:lnSpc>
                <a:spcPts val="1200"/>
              </a:lnSpc>
              <a:spcBef>
                <a:spcPts val="200"/>
              </a:spcBef>
              <a:spcAft>
                <a:spcPts val="200"/>
              </a:spcAft>
              <a:defRPr sz="1200"/>
            </a:lvl9pPr>
          </a:lstStyle>
          <a:p>
            <a:pPr lvl="0"/>
            <a:r>
              <a:rPr lang="de-DE"/>
              <a:t>Mastertextformat bearbeiten</a:t>
            </a:r>
          </a:p>
        </p:txBody>
      </p:sp>
      <p:sp>
        <p:nvSpPr>
          <p:cNvPr id="24" name="role 3">
            <a:extLst>
              <a:ext uri="{FF2B5EF4-FFF2-40B4-BE49-F238E27FC236}">
                <a16:creationId xmlns:a16="http://schemas.microsoft.com/office/drawing/2014/main" id="{F470F2DA-FCB8-F5D5-6B88-F425D328022F}"/>
              </a:ext>
            </a:extLst>
          </p:cNvPr>
          <p:cNvSpPr>
            <a:spLocks noGrp="1"/>
          </p:cNvSpPr>
          <p:nvPr>
            <p:ph type="body" idx="37"/>
          </p:nvPr>
        </p:nvSpPr>
        <p:spPr>
          <a:xfrm>
            <a:off x="5094000" y="4365972"/>
            <a:ext cx="1979612"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5" name="name 3">
            <a:extLst>
              <a:ext uri="{FF2B5EF4-FFF2-40B4-BE49-F238E27FC236}">
                <a16:creationId xmlns:a16="http://schemas.microsoft.com/office/drawing/2014/main" id="{9FE0C0EA-647E-8F96-2324-D5CE5B15EE2A}"/>
              </a:ext>
            </a:extLst>
          </p:cNvPr>
          <p:cNvSpPr>
            <a:spLocks noGrp="1"/>
          </p:cNvSpPr>
          <p:nvPr>
            <p:ph type="body" idx="38"/>
          </p:nvPr>
        </p:nvSpPr>
        <p:spPr>
          <a:xfrm>
            <a:off x="5094000" y="3925774"/>
            <a:ext cx="1979612" cy="360000"/>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4" name="picture 3">
            <a:extLst>
              <a:ext uri="{FF2B5EF4-FFF2-40B4-BE49-F238E27FC236}">
                <a16:creationId xmlns:a16="http://schemas.microsoft.com/office/drawing/2014/main" id="{9FF70640-2E25-EBCF-C164-4D8776EDCC0B}"/>
              </a:ext>
            </a:extLst>
          </p:cNvPr>
          <p:cNvSpPr>
            <a:spLocks noGrp="1"/>
          </p:cNvSpPr>
          <p:nvPr>
            <p:ph type="pic" sz="quarter" idx="23"/>
          </p:nvPr>
        </p:nvSpPr>
        <p:spPr>
          <a:xfrm>
            <a:off x="5094000" y="1989138"/>
            <a:ext cx="1980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37" name="name 3">
            <a:extLst>
              <a:ext uri="{FF2B5EF4-FFF2-40B4-BE49-F238E27FC236}">
                <a16:creationId xmlns:a16="http://schemas.microsoft.com/office/drawing/2014/main" id="{9F3DBABF-FEEA-BFD8-25B0-A08331E9DD21}"/>
              </a:ext>
            </a:extLst>
          </p:cNvPr>
          <p:cNvSpPr>
            <a:spLocks noGrp="1"/>
          </p:cNvSpPr>
          <p:nvPr>
            <p:ph type="body" idx="49"/>
          </p:nvPr>
        </p:nvSpPr>
        <p:spPr>
          <a:xfrm>
            <a:off x="5094000" y="1512000"/>
            <a:ext cx="1979612" cy="360000"/>
          </a:xfrm>
        </p:spPr>
        <p:txBody>
          <a:bodyPr lIns="0" rIns="0" anchor="b" anchorCtr="0"/>
          <a:lstStyle>
            <a:lvl1pPr marL="0" indent="0" algn="l">
              <a:lnSpc>
                <a:spcPts val="1400"/>
              </a:lnSpc>
              <a:spcBef>
                <a:spcPts val="0"/>
              </a:spcBef>
              <a:spcAft>
                <a:spcPts val="0"/>
              </a:spcAft>
              <a:buNone/>
              <a:defRPr lang="en-US" sz="1200" b="0" kern="1200" cap="all" spc="100" baseline="0" noProof="0">
                <a:gradFill>
                  <a:gsLst>
                    <a:gs pos="0">
                      <a:srgbClr val="FF4B4B"/>
                    </a:gs>
                    <a:gs pos="100000">
                      <a:srgbClr val="FF744F"/>
                    </a:gs>
                  </a:gsLst>
                  <a:lin ang="18900000" scaled="1"/>
                </a:gradFill>
                <a:latin typeface="Segoe UI Semibold" panose="020B0702040204020203" pitchFamily="34" charset="0"/>
                <a:ea typeface="+mn-ea"/>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400"/>
              </a:lnSpc>
              <a:spcBef>
                <a:spcPts val="0"/>
              </a:spcBef>
              <a:spcAft>
                <a:spcPts val="0"/>
              </a:spcAft>
              <a:buClr>
                <a:schemeClr val="accent2"/>
              </a:buClr>
              <a:buSzPct val="100000"/>
              <a:buFont typeface="Verdana" panose="020B0604030504040204" pitchFamily="34" charset="0"/>
              <a:buNone/>
              <a:tabLst>
                <a:tab pos="182563" algn="l"/>
              </a:tabLst>
            </a:pPr>
            <a:r>
              <a:rPr lang="de-DE"/>
              <a:t>Mastertextformat bearbeiten</a:t>
            </a:r>
          </a:p>
        </p:txBody>
      </p:sp>
      <p:sp>
        <p:nvSpPr>
          <p:cNvPr id="92" name="subhead 2">
            <a:extLst>
              <a:ext uri="{FF2B5EF4-FFF2-40B4-BE49-F238E27FC236}">
                <a16:creationId xmlns:a16="http://schemas.microsoft.com/office/drawing/2014/main" id="{0C79B4B6-AEFC-E24C-2B7C-4FE3BD9C9C77}"/>
              </a:ext>
            </a:extLst>
          </p:cNvPr>
          <p:cNvSpPr>
            <a:spLocks noGrp="1"/>
          </p:cNvSpPr>
          <p:nvPr>
            <p:ph type="body" idx="17"/>
          </p:nvPr>
        </p:nvSpPr>
        <p:spPr>
          <a:xfrm>
            <a:off x="2815837" y="1989138"/>
            <a:ext cx="1980000" cy="4176712"/>
          </a:xfrm>
          <a:prstGeom prst="roundRect">
            <a:avLst>
              <a:gd name="adj" fmla="val 699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30" name="text 2">
            <a:extLst>
              <a:ext uri="{FF2B5EF4-FFF2-40B4-BE49-F238E27FC236}">
                <a16:creationId xmlns:a16="http://schemas.microsoft.com/office/drawing/2014/main" id="{6CF00EF9-643B-8A9A-59D7-9A8864A3E9C4}"/>
              </a:ext>
            </a:extLst>
          </p:cNvPr>
          <p:cNvSpPr>
            <a:spLocks noGrp="1"/>
          </p:cNvSpPr>
          <p:nvPr>
            <p:ph type="body" sz="quarter" idx="43"/>
          </p:nvPr>
        </p:nvSpPr>
        <p:spPr>
          <a:xfrm>
            <a:off x="2816613" y="4869138"/>
            <a:ext cx="1980000" cy="1296712"/>
          </a:xfrm>
        </p:spPr>
        <p:txBody>
          <a:bodyPr lIns="144000" rIns="72000"/>
          <a:lstStyle>
            <a:lvl1pPr>
              <a:lnSpc>
                <a:spcPts val="1200"/>
              </a:lnSpc>
              <a:spcBef>
                <a:spcPts val="200"/>
              </a:spcBef>
              <a:spcAft>
                <a:spcPts val="200"/>
              </a:spcAft>
              <a:defRPr sz="1000"/>
            </a:lvl1pPr>
            <a:lvl2pPr>
              <a:lnSpc>
                <a:spcPts val="1200"/>
              </a:lnSpc>
              <a:spcBef>
                <a:spcPts val="200"/>
              </a:spcBef>
              <a:spcAft>
                <a:spcPts val="200"/>
              </a:spcAft>
              <a:defRPr sz="1000"/>
            </a:lvl2pPr>
            <a:lvl3pPr>
              <a:lnSpc>
                <a:spcPts val="1200"/>
              </a:lnSpc>
              <a:spcBef>
                <a:spcPts val="200"/>
              </a:spcBef>
              <a:spcAft>
                <a:spcPts val="200"/>
              </a:spcAft>
              <a:defRPr sz="1000"/>
            </a:lvl3pPr>
            <a:lvl4pPr>
              <a:lnSpc>
                <a:spcPts val="1200"/>
              </a:lnSpc>
              <a:spcBef>
                <a:spcPts val="200"/>
              </a:spcBef>
              <a:spcAft>
                <a:spcPts val="200"/>
              </a:spcAft>
              <a:defRPr sz="1000"/>
            </a:lvl4pPr>
            <a:lvl5pPr>
              <a:lnSpc>
                <a:spcPts val="1200"/>
              </a:lnSpc>
              <a:spcBef>
                <a:spcPts val="200"/>
              </a:spcBef>
              <a:spcAft>
                <a:spcPts val="200"/>
              </a:spcAft>
              <a:defRPr sz="1000"/>
            </a:lvl5pPr>
            <a:lvl6pPr>
              <a:lnSpc>
                <a:spcPts val="1200"/>
              </a:lnSpc>
              <a:spcBef>
                <a:spcPts val="200"/>
              </a:spcBef>
              <a:spcAft>
                <a:spcPts val="200"/>
              </a:spcAft>
              <a:defRPr sz="1200"/>
            </a:lvl6pPr>
            <a:lvl7pPr>
              <a:lnSpc>
                <a:spcPts val="1200"/>
              </a:lnSpc>
              <a:spcBef>
                <a:spcPts val="200"/>
              </a:spcBef>
              <a:spcAft>
                <a:spcPts val="200"/>
              </a:spcAft>
              <a:defRPr sz="1200"/>
            </a:lvl7pPr>
            <a:lvl8pPr>
              <a:lnSpc>
                <a:spcPts val="1200"/>
              </a:lnSpc>
              <a:spcBef>
                <a:spcPts val="200"/>
              </a:spcBef>
              <a:spcAft>
                <a:spcPts val="200"/>
              </a:spcAft>
              <a:defRPr sz="1200"/>
            </a:lvl8pPr>
            <a:lvl9pPr>
              <a:lnSpc>
                <a:spcPts val="1200"/>
              </a:lnSpc>
              <a:spcBef>
                <a:spcPts val="200"/>
              </a:spcBef>
              <a:spcAft>
                <a:spcPts val="200"/>
              </a:spcAft>
              <a:defRPr sz="1200"/>
            </a:lvl9pPr>
          </a:lstStyle>
          <a:p>
            <a:pPr lvl="0"/>
            <a:r>
              <a:rPr lang="de-DE"/>
              <a:t>Mastertextformat bearbeiten</a:t>
            </a:r>
          </a:p>
        </p:txBody>
      </p:sp>
      <p:sp>
        <p:nvSpPr>
          <p:cNvPr id="22" name="role 2">
            <a:extLst>
              <a:ext uri="{FF2B5EF4-FFF2-40B4-BE49-F238E27FC236}">
                <a16:creationId xmlns:a16="http://schemas.microsoft.com/office/drawing/2014/main" id="{C664ADAB-DC48-0DB1-A98F-95C861C0A004}"/>
              </a:ext>
            </a:extLst>
          </p:cNvPr>
          <p:cNvSpPr>
            <a:spLocks noGrp="1"/>
          </p:cNvSpPr>
          <p:nvPr>
            <p:ph type="body" idx="35"/>
          </p:nvPr>
        </p:nvSpPr>
        <p:spPr>
          <a:xfrm>
            <a:off x="2815837" y="4365972"/>
            <a:ext cx="1979612"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3" name="name 2">
            <a:extLst>
              <a:ext uri="{FF2B5EF4-FFF2-40B4-BE49-F238E27FC236}">
                <a16:creationId xmlns:a16="http://schemas.microsoft.com/office/drawing/2014/main" id="{1EA7FB94-CB31-80E2-011E-9C5722D55A24}"/>
              </a:ext>
            </a:extLst>
          </p:cNvPr>
          <p:cNvSpPr>
            <a:spLocks noGrp="1"/>
          </p:cNvSpPr>
          <p:nvPr>
            <p:ph type="body" idx="36"/>
          </p:nvPr>
        </p:nvSpPr>
        <p:spPr>
          <a:xfrm>
            <a:off x="2815837" y="3925774"/>
            <a:ext cx="1979612" cy="360000"/>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3" name="picture 2">
            <a:extLst>
              <a:ext uri="{FF2B5EF4-FFF2-40B4-BE49-F238E27FC236}">
                <a16:creationId xmlns:a16="http://schemas.microsoft.com/office/drawing/2014/main" id="{55B5AD6C-F5DC-9656-D99B-A67A0B7E5052}"/>
              </a:ext>
            </a:extLst>
          </p:cNvPr>
          <p:cNvSpPr>
            <a:spLocks noGrp="1"/>
          </p:cNvSpPr>
          <p:nvPr>
            <p:ph type="pic" sz="quarter" idx="22"/>
          </p:nvPr>
        </p:nvSpPr>
        <p:spPr>
          <a:xfrm>
            <a:off x="2814619" y="1989138"/>
            <a:ext cx="1980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38" name="name 2">
            <a:extLst>
              <a:ext uri="{FF2B5EF4-FFF2-40B4-BE49-F238E27FC236}">
                <a16:creationId xmlns:a16="http://schemas.microsoft.com/office/drawing/2014/main" id="{39CDDCC2-784D-8816-76AD-F99F5902CBDD}"/>
              </a:ext>
            </a:extLst>
          </p:cNvPr>
          <p:cNvSpPr>
            <a:spLocks noGrp="1"/>
          </p:cNvSpPr>
          <p:nvPr>
            <p:ph type="body" idx="50"/>
          </p:nvPr>
        </p:nvSpPr>
        <p:spPr>
          <a:xfrm>
            <a:off x="2815837" y="1512000"/>
            <a:ext cx="1979612" cy="360000"/>
          </a:xfrm>
        </p:spPr>
        <p:txBody>
          <a:bodyPr lIns="0" rIns="0" anchor="b" anchorCtr="0"/>
          <a:lstStyle>
            <a:lvl1pPr marL="0" indent="0" algn="l">
              <a:lnSpc>
                <a:spcPts val="1400"/>
              </a:lnSpc>
              <a:spcBef>
                <a:spcPts val="0"/>
              </a:spcBef>
              <a:spcAft>
                <a:spcPts val="0"/>
              </a:spcAft>
              <a:buNone/>
              <a:defRPr lang="en-US" sz="1200" b="0" kern="1200" cap="all" spc="100" baseline="0" noProof="0">
                <a:gradFill>
                  <a:gsLst>
                    <a:gs pos="0">
                      <a:srgbClr val="FF4B4B"/>
                    </a:gs>
                    <a:gs pos="100000">
                      <a:srgbClr val="FF744F"/>
                    </a:gs>
                  </a:gsLst>
                  <a:lin ang="18900000" scaled="1"/>
                </a:gradFill>
                <a:latin typeface="Segoe UI Semibold" panose="020B0702040204020203" pitchFamily="34" charset="0"/>
                <a:ea typeface="+mn-ea"/>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400"/>
              </a:lnSpc>
              <a:spcBef>
                <a:spcPts val="0"/>
              </a:spcBef>
              <a:spcAft>
                <a:spcPts val="0"/>
              </a:spcAft>
              <a:buClr>
                <a:schemeClr val="accent2"/>
              </a:buClr>
              <a:buSzPct val="100000"/>
              <a:buFont typeface="Verdana" panose="020B0604030504040204" pitchFamily="34" charset="0"/>
              <a:buNone/>
              <a:tabLst>
                <a:tab pos="182563" algn="l"/>
              </a:tabLst>
            </a:pPr>
            <a:r>
              <a:rPr lang="de-DE"/>
              <a:t>Mastertextformat bearbeiten</a:t>
            </a:r>
          </a:p>
        </p:txBody>
      </p:sp>
      <p:sp>
        <p:nvSpPr>
          <p:cNvPr id="49" name="subhead 1">
            <a:extLst>
              <a:ext uri="{FF2B5EF4-FFF2-40B4-BE49-F238E27FC236}">
                <a16:creationId xmlns:a16="http://schemas.microsoft.com/office/drawing/2014/main" id="{0FE4903D-F047-A069-A010-0199438C5A44}"/>
              </a:ext>
            </a:extLst>
          </p:cNvPr>
          <p:cNvSpPr>
            <a:spLocks noGrp="1"/>
          </p:cNvSpPr>
          <p:nvPr>
            <p:ph type="body" idx="1"/>
          </p:nvPr>
        </p:nvSpPr>
        <p:spPr>
          <a:xfrm>
            <a:off x="540000" y="1989138"/>
            <a:ext cx="1980000" cy="4176712"/>
          </a:xfrm>
          <a:prstGeom prst="roundRect">
            <a:avLst>
              <a:gd name="adj" fmla="val 5284"/>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15" name="text 1">
            <a:extLst>
              <a:ext uri="{FF2B5EF4-FFF2-40B4-BE49-F238E27FC236}">
                <a16:creationId xmlns:a16="http://schemas.microsoft.com/office/drawing/2014/main" id="{907A54C3-A2FF-A59E-41B3-23D2F7C1E59E}"/>
              </a:ext>
            </a:extLst>
          </p:cNvPr>
          <p:cNvSpPr>
            <a:spLocks noGrp="1"/>
          </p:cNvSpPr>
          <p:nvPr>
            <p:ph type="body" sz="quarter" idx="24"/>
          </p:nvPr>
        </p:nvSpPr>
        <p:spPr>
          <a:xfrm>
            <a:off x="540000" y="4869138"/>
            <a:ext cx="1980000" cy="1296712"/>
          </a:xfrm>
        </p:spPr>
        <p:txBody>
          <a:bodyPr lIns="144000" rIns="72000"/>
          <a:lstStyle>
            <a:lvl1pPr>
              <a:lnSpc>
                <a:spcPts val="1200"/>
              </a:lnSpc>
              <a:spcBef>
                <a:spcPts val="200"/>
              </a:spcBef>
              <a:spcAft>
                <a:spcPts val="200"/>
              </a:spcAft>
              <a:defRPr sz="1000"/>
            </a:lvl1pPr>
            <a:lvl2pPr>
              <a:lnSpc>
                <a:spcPts val="1200"/>
              </a:lnSpc>
              <a:spcBef>
                <a:spcPts val="200"/>
              </a:spcBef>
              <a:spcAft>
                <a:spcPts val="200"/>
              </a:spcAft>
              <a:defRPr sz="1000"/>
            </a:lvl2pPr>
            <a:lvl3pPr>
              <a:lnSpc>
                <a:spcPts val="1200"/>
              </a:lnSpc>
              <a:spcBef>
                <a:spcPts val="200"/>
              </a:spcBef>
              <a:spcAft>
                <a:spcPts val="200"/>
              </a:spcAft>
              <a:defRPr sz="1000"/>
            </a:lvl3pPr>
            <a:lvl4pPr>
              <a:lnSpc>
                <a:spcPts val="1200"/>
              </a:lnSpc>
              <a:spcBef>
                <a:spcPts val="200"/>
              </a:spcBef>
              <a:spcAft>
                <a:spcPts val="200"/>
              </a:spcAft>
              <a:defRPr sz="1000"/>
            </a:lvl4pPr>
            <a:lvl5pPr>
              <a:lnSpc>
                <a:spcPts val="1200"/>
              </a:lnSpc>
              <a:spcBef>
                <a:spcPts val="200"/>
              </a:spcBef>
              <a:spcAft>
                <a:spcPts val="200"/>
              </a:spcAft>
              <a:defRPr sz="1000"/>
            </a:lvl5pPr>
            <a:lvl6pPr>
              <a:lnSpc>
                <a:spcPts val="1200"/>
              </a:lnSpc>
              <a:spcBef>
                <a:spcPts val="200"/>
              </a:spcBef>
              <a:spcAft>
                <a:spcPts val="200"/>
              </a:spcAft>
              <a:defRPr sz="1200"/>
            </a:lvl6pPr>
            <a:lvl7pPr>
              <a:lnSpc>
                <a:spcPts val="1200"/>
              </a:lnSpc>
              <a:spcBef>
                <a:spcPts val="200"/>
              </a:spcBef>
              <a:spcAft>
                <a:spcPts val="200"/>
              </a:spcAft>
              <a:defRPr sz="1200"/>
            </a:lvl7pPr>
            <a:lvl8pPr>
              <a:lnSpc>
                <a:spcPts val="1200"/>
              </a:lnSpc>
              <a:spcBef>
                <a:spcPts val="200"/>
              </a:spcBef>
              <a:spcAft>
                <a:spcPts val="200"/>
              </a:spcAft>
              <a:defRPr sz="1200"/>
            </a:lvl8pPr>
            <a:lvl9pPr>
              <a:lnSpc>
                <a:spcPts val="1200"/>
              </a:lnSpc>
              <a:spcBef>
                <a:spcPts val="200"/>
              </a:spcBef>
              <a:spcAft>
                <a:spcPts val="200"/>
              </a:spcAft>
              <a:defRPr sz="1200"/>
            </a:lvl9pPr>
          </a:lstStyle>
          <a:p>
            <a:pPr lvl="0"/>
            <a:r>
              <a:rPr lang="de-DE"/>
              <a:t>Mastertextformat bearbeiten</a:t>
            </a:r>
          </a:p>
        </p:txBody>
      </p:sp>
      <p:sp>
        <p:nvSpPr>
          <p:cNvPr id="20" name="role 1">
            <a:extLst>
              <a:ext uri="{FF2B5EF4-FFF2-40B4-BE49-F238E27FC236}">
                <a16:creationId xmlns:a16="http://schemas.microsoft.com/office/drawing/2014/main" id="{F8761D6D-9D3B-68A4-4F61-E67D3E18C6A6}"/>
              </a:ext>
            </a:extLst>
          </p:cNvPr>
          <p:cNvSpPr>
            <a:spLocks noGrp="1"/>
          </p:cNvSpPr>
          <p:nvPr>
            <p:ph type="body" idx="33"/>
          </p:nvPr>
        </p:nvSpPr>
        <p:spPr>
          <a:xfrm>
            <a:off x="540000" y="4365972"/>
            <a:ext cx="1979612"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1" name="name 1">
            <a:extLst>
              <a:ext uri="{FF2B5EF4-FFF2-40B4-BE49-F238E27FC236}">
                <a16:creationId xmlns:a16="http://schemas.microsoft.com/office/drawing/2014/main" id="{8A8BFD5B-C976-835F-A757-EE0BFB168A29}"/>
              </a:ext>
            </a:extLst>
          </p:cNvPr>
          <p:cNvSpPr>
            <a:spLocks noGrp="1"/>
          </p:cNvSpPr>
          <p:nvPr>
            <p:ph type="body" idx="34"/>
          </p:nvPr>
        </p:nvSpPr>
        <p:spPr>
          <a:xfrm>
            <a:off x="540000" y="3925774"/>
            <a:ext cx="1979612" cy="360000"/>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1" name="picture 1">
            <a:extLst>
              <a:ext uri="{FF2B5EF4-FFF2-40B4-BE49-F238E27FC236}">
                <a16:creationId xmlns:a16="http://schemas.microsoft.com/office/drawing/2014/main" id="{48BC97E5-F4FC-CFC7-7C93-504C59D7A2BF}"/>
              </a:ext>
            </a:extLst>
          </p:cNvPr>
          <p:cNvSpPr>
            <a:spLocks noGrp="1"/>
          </p:cNvSpPr>
          <p:nvPr>
            <p:ph type="pic" sz="quarter" idx="21"/>
          </p:nvPr>
        </p:nvSpPr>
        <p:spPr>
          <a:xfrm>
            <a:off x="540000" y="1989138"/>
            <a:ext cx="1980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39" name="name 1">
            <a:extLst>
              <a:ext uri="{FF2B5EF4-FFF2-40B4-BE49-F238E27FC236}">
                <a16:creationId xmlns:a16="http://schemas.microsoft.com/office/drawing/2014/main" id="{CFA4B4EE-8215-2C34-3065-56E7CAD34F06}"/>
              </a:ext>
            </a:extLst>
          </p:cNvPr>
          <p:cNvSpPr>
            <a:spLocks noGrp="1"/>
          </p:cNvSpPr>
          <p:nvPr>
            <p:ph type="body" idx="51"/>
          </p:nvPr>
        </p:nvSpPr>
        <p:spPr>
          <a:xfrm>
            <a:off x="540000" y="1512000"/>
            <a:ext cx="1979612" cy="360000"/>
          </a:xfrm>
        </p:spPr>
        <p:txBody>
          <a:bodyPr lIns="0" rIns="0" anchor="b" anchorCtr="0"/>
          <a:lstStyle>
            <a:lvl1pPr marL="0" indent="0" algn="l">
              <a:lnSpc>
                <a:spcPts val="1400"/>
              </a:lnSpc>
              <a:spcBef>
                <a:spcPts val="0"/>
              </a:spcBef>
              <a:spcAft>
                <a:spcPts val="0"/>
              </a:spcAft>
              <a:buNone/>
              <a:defRPr sz="1200" b="0" cap="all" spc="100" baseline="0">
                <a:gradFill>
                  <a:gsLst>
                    <a:gs pos="0">
                      <a:srgbClr val="FF4B4B"/>
                    </a:gs>
                    <a:gs pos="100000">
                      <a:srgbClr val="FF744F"/>
                    </a:gs>
                  </a:gsLst>
                  <a:lin ang="18900000" scaled="1"/>
                </a:gra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86" name="title">
            <a:extLst>
              <a:ext uri="{FF2B5EF4-FFF2-40B4-BE49-F238E27FC236}">
                <a16:creationId xmlns:a16="http://schemas.microsoft.com/office/drawing/2014/main" id="{457734AF-380A-E58A-7517-29028ECFA967}"/>
              </a:ext>
            </a:extLst>
          </p:cNvPr>
          <p:cNvSpPr>
            <a:spLocks noGrp="1"/>
          </p:cNvSpPr>
          <p:nvPr>
            <p:ph type="title"/>
          </p:nvPr>
        </p:nvSpPr>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3CCF9C9E-CC68-9C72-1637-DC78701B6BD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717055209"/>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   049 : team : 6 pictures : 6 names and roles : textbox">
    <p:spTree>
      <p:nvGrpSpPr>
        <p:cNvPr id="1" name=""/>
        <p:cNvGrpSpPr/>
        <p:nvPr/>
      </p:nvGrpSpPr>
      <p:grpSpPr>
        <a:xfrm>
          <a:off x="0" y="0"/>
          <a:ext cx="0" cy="0"/>
          <a:chOff x="0" y="0"/>
          <a:chExt cx="0" cy="0"/>
        </a:xfrm>
      </p:grpSpPr>
      <p:sp>
        <p:nvSpPr>
          <p:cNvPr id="10" name="slide number">
            <a:extLst>
              <a:ext uri="{FF2B5EF4-FFF2-40B4-BE49-F238E27FC236}">
                <a16:creationId xmlns:a16="http://schemas.microsoft.com/office/drawing/2014/main" id="{806DED45-4BC7-C6F5-F26F-6CD59EA5B6A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B32839BA-2D56-A01B-FE5C-F161B633535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9" name="date">
            <a:extLst>
              <a:ext uri="{FF2B5EF4-FFF2-40B4-BE49-F238E27FC236}">
                <a16:creationId xmlns:a16="http://schemas.microsoft.com/office/drawing/2014/main" id="{50109232-4643-9278-B176-335653E00909}"/>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73" name="extratext">
            <a:extLst>
              <a:ext uri="{FF2B5EF4-FFF2-40B4-BE49-F238E27FC236}">
                <a16:creationId xmlns:a16="http://schemas.microsoft.com/office/drawing/2014/main" id="{62522F2D-903C-44B2-6CCD-582F279AA4DF}"/>
              </a:ext>
            </a:extLst>
          </p:cNvPr>
          <p:cNvSpPr>
            <a:spLocks noGrp="1"/>
          </p:cNvSpPr>
          <p:nvPr>
            <p:ph type="body" sz="quarter" idx="24"/>
          </p:nvPr>
        </p:nvSpPr>
        <p:spPr>
          <a:xfrm>
            <a:off x="8510356" y="1499146"/>
            <a:ext cx="3132000" cy="4680000"/>
          </a:xfrm>
        </p:spPr>
        <p:txBody>
          <a:bodyPr lIns="0" rIns="0"/>
          <a:lstStyle>
            <a:lvl1pPr>
              <a:lnSpc>
                <a:spcPts val="1600"/>
              </a:lnSpc>
              <a:spcBef>
                <a:spcPts val="300"/>
              </a:spcBef>
              <a:spcAft>
                <a:spcPts val="300"/>
              </a:spcAft>
              <a:defRPr sz="1200"/>
            </a:lvl1pPr>
            <a:lvl2pPr>
              <a:lnSpc>
                <a:spcPts val="1600"/>
              </a:lnSpc>
              <a:spcBef>
                <a:spcPts val="300"/>
              </a:spcBef>
              <a:spcAft>
                <a:spcPts val="300"/>
              </a:spcAft>
              <a:defRPr sz="1200"/>
            </a:lvl2pPr>
            <a:lvl3pPr>
              <a:lnSpc>
                <a:spcPts val="1600"/>
              </a:lnSpc>
              <a:spcBef>
                <a:spcPts val="300"/>
              </a:spcBef>
              <a:spcAft>
                <a:spcPts val="300"/>
              </a:spcAft>
              <a:defRPr sz="1200"/>
            </a:lvl3pPr>
            <a:lvl4pPr>
              <a:lnSpc>
                <a:spcPts val="1600"/>
              </a:lnSpc>
              <a:spcBef>
                <a:spcPts val="300"/>
              </a:spcBef>
              <a:spcAft>
                <a:spcPts val="300"/>
              </a:spcAft>
              <a:defRPr sz="1200"/>
            </a:lvl4pPr>
            <a:lvl5pPr>
              <a:lnSpc>
                <a:spcPts val="1600"/>
              </a:lnSpc>
              <a:spcBef>
                <a:spcPts val="300"/>
              </a:spcBef>
              <a:spcAft>
                <a:spcPts val="300"/>
              </a:spcAft>
              <a:defRPr sz="1200"/>
            </a:lvl5pPr>
            <a:lvl6pPr>
              <a:lnSpc>
                <a:spcPts val="1600"/>
              </a:lnSpc>
              <a:spcBef>
                <a:spcPts val="300"/>
              </a:spcBef>
              <a:spcAft>
                <a:spcPts val="300"/>
              </a:spcAft>
              <a:defRPr sz="1200"/>
            </a:lvl6pPr>
            <a:lvl7pPr>
              <a:lnSpc>
                <a:spcPts val="1600"/>
              </a:lnSpc>
              <a:spcBef>
                <a:spcPts val="300"/>
              </a:spcBef>
              <a:spcAft>
                <a:spcPts val="300"/>
              </a:spcAft>
              <a:defRPr sz="1200"/>
            </a:lvl7pPr>
            <a:lvl8pPr>
              <a:lnSpc>
                <a:spcPts val="1600"/>
              </a:lnSpc>
              <a:spcBef>
                <a:spcPts val="300"/>
              </a:spcBef>
              <a:spcAft>
                <a:spcPts val="300"/>
              </a:spcAft>
              <a:defRPr sz="1200"/>
            </a:lvl8pPr>
            <a:lvl9pPr>
              <a:lnSpc>
                <a:spcPts val="1600"/>
              </a:lnSpc>
              <a:spcBef>
                <a:spcPts val="300"/>
              </a:spcBef>
              <a:spcAft>
                <a:spcPts val="300"/>
              </a:spcAft>
              <a:defRPr sz="1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9" name="subhead 6">
            <a:extLst>
              <a:ext uri="{FF2B5EF4-FFF2-40B4-BE49-F238E27FC236}">
                <a16:creationId xmlns:a16="http://schemas.microsoft.com/office/drawing/2014/main" id="{09D10702-D88E-0A31-36AA-2CD089FE3A8D}"/>
              </a:ext>
            </a:extLst>
          </p:cNvPr>
          <p:cNvSpPr>
            <a:spLocks noGrp="1"/>
          </p:cNvSpPr>
          <p:nvPr>
            <p:ph type="body" idx="55"/>
          </p:nvPr>
        </p:nvSpPr>
        <p:spPr>
          <a:xfrm>
            <a:off x="4527278" y="4728964"/>
            <a:ext cx="3600000" cy="1439862"/>
          </a:xfrm>
          <a:prstGeom prst="roundRect">
            <a:avLst>
              <a:gd name="adj" fmla="val 5780"/>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60" name="role 6">
            <a:extLst>
              <a:ext uri="{FF2B5EF4-FFF2-40B4-BE49-F238E27FC236}">
                <a16:creationId xmlns:a16="http://schemas.microsoft.com/office/drawing/2014/main" id="{03B9989C-4CDE-65FF-723A-7CE10C700712}"/>
              </a:ext>
            </a:extLst>
          </p:cNvPr>
          <p:cNvSpPr>
            <a:spLocks noGrp="1"/>
          </p:cNvSpPr>
          <p:nvPr>
            <p:ph type="body" idx="56" hasCustomPrompt="1"/>
          </p:nvPr>
        </p:nvSpPr>
        <p:spPr>
          <a:xfrm>
            <a:off x="6115328" y="5373687"/>
            <a:ext cx="1979612" cy="792000"/>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61" name="name 6">
            <a:extLst>
              <a:ext uri="{FF2B5EF4-FFF2-40B4-BE49-F238E27FC236}">
                <a16:creationId xmlns:a16="http://schemas.microsoft.com/office/drawing/2014/main" id="{8ACE3A54-71C1-3703-C964-A624E372D44D}"/>
              </a:ext>
            </a:extLst>
          </p:cNvPr>
          <p:cNvSpPr>
            <a:spLocks noGrp="1"/>
          </p:cNvSpPr>
          <p:nvPr>
            <p:ph type="body" idx="57"/>
          </p:nvPr>
        </p:nvSpPr>
        <p:spPr>
          <a:xfrm>
            <a:off x="6115328" y="4743797"/>
            <a:ext cx="1979612" cy="521689"/>
          </a:xfrm>
        </p:spPr>
        <p:txBody>
          <a:bodyPr lIns="144000" rIns="144000" anchor="b" anchorCtr="0"/>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2" name="picture 6">
            <a:extLst>
              <a:ext uri="{FF2B5EF4-FFF2-40B4-BE49-F238E27FC236}">
                <a16:creationId xmlns:a16="http://schemas.microsoft.com/office/drawing/2014/main" id="{978213B3-E69A-D24E-5D6A-D82C2F1DD28D}"/>
              </a:ext>
            </a:extLst>
          </p:cNvPr>
          <p:cNvSpPr>
            <a:spLocks noGrp="1"/>
          </p:cNvSpPr>
          <p:nvPr>
            <p:ph type="pic" sz="quarter" idx="58"/>
          </p:nvPr>
        </p:nvSpPr>
        <p:spPr>
          <a:xfrm>
            <a:off x="4525178" y="4729758"/>
            <a:ext cx="1584000" cy="1440000"/>
          </a:xfrm>
          <a:custGeom>
            <a:avLst/>
            <a:gdLst>
              <a:gd name="connsiteX0" fmla="*/ 0 w 1584000"/>
              <a:gd name="connsiteY0" fmla="*/ 125712 h 1440000"/>
              <a:gd name="connsiteX1" fmla="*/ 125712 w 1584000"/>
              <a:gd name="connsiteY1" fmla="*/ 0 h 1440000"/>
              <a:gd name="connsiteX2" fmla="*/ 1458288 w 1584000"/>
              <a:gd name="connsiteY2" fmla="*/ 0 h 1440000"/>
              <a:gd name="connsiteX3" fmla="*/ 1584000 w 1584000"/>
              <a:gd name="connsiteY3" fmla="*/ 125712 h 1440000"/>
              <a:gd name="connsiteX4" fmla="*/ 1584000 w 1584000"/>
              <a:gd name="connsiteY4" fmla="*/ 1314288 h 1440000"/>
              <a:gd name="connsiteX5" fmla="*/ 1458288 w 1584000"/>
              <a:gd name="connsiteY5" fmla="*/ 1440000 h 1440000"/>
              <a:gd name="connsiteX6" fmla="*/ 125712 w 1584000"/>
              <a:gd name="connsiteY6" fmla="*/ 1440000 h 1440000"/>
              <a:gd name="connsiteX7" fmla="*/ 0 w 1584000"/>
              <a:gd name="connsiteY7" fmla="*/ 1314288 h 1440000"/>
              <a:gd name="connsiteX8" fmla="*/ 0 w 1584000"/>
              <a:gd name="connsiteY8" fmla="*/ 125712 h 1440000"/>
              <a:gd name="connsiteX0" fmla="*/ 0 w 1612314"/>
              <a:gd name="connsiteY0" fmla="*/ 125712 h 1440000"/>
              <a:gd name="connsiteX1" fmla="*/ 125712 w 1612314"/>
              <a:gd name="connsiteY1" fmla="*/ 0 h 1440000"/>
              <a:gd name="connsiteX2" fmla="*/ 1458288 w 1612314"/>
              <a:gd name="connsiteY2" fmla="*/ 0 h 1440000"/>
              <a:gd name="connsiteX3" fmla="*/ 1584000 w 1612314"/>
              <a:gd name="connsiteY3" fmla="*/ 1314288 h 1440000"/>
              <a:gd name="connsiteX4" fmla="*/ 1458288 w 1612314"/>
              <a:gd name="connsiteY4" fmla="*/ 1440000 h 1440000"/>
              <a:gd name="connsiteX5" fmla="*/ 125712 w 1612314"/>
              <a:gd name="connsiteY5" fmla="*/ 1440000 h 1440000"/>
              <a:gd name="connsiteX6" fmla="*/ 0 w 1612314"/>
              <a:gd name="connsiteY6" fmla="*/ 1314288 h 1440000"/>
              <a:gd name="connsiteX7" fmla="*/ 0 w 1612314"/>
              <a:gd name="connsiteY7" fmla="*/ 125712 h 1440000"/>
              <a:gd name="connsiteX0" fmla="*/ 0 w 1624860"/>
              <a:gd name="connsiteY0" fmla="*/ 125712 h 1440000"/>
              <a:gd name="connsiteX1" fmla="*/ 125712 w 1624860"/>
              <a:gd name="connsiteY1" fmla="*/ 0 h 1440000"/>
              <a:gd name="connsiteX2" fmla="*/ 1458288 w 1624860"/>
              <a:gd name="connsiteY2" fmla="*/ 0 h 1440000"/>
              <a:gd name="connsiteX3" fmla="*/ 1458288 w 1624860"/>
              <a:gd name="connsiteY3" fmla="*/ 1440000 h 1440000"/>
              <a:gd name="connsiteX4" fmla="*/ 125712 w 1624860"/>
              <a:gd name="connsiteY4" fmla="*/ 1440000 h 1440000"/>
              <a:gd name="connsiteX5" fmla="*/ 0 w 1624860"/>
              <a:gd name="connsiteY5" fmla="*/ 1314288 h 1440000"/>
              <a:gd name="connsiteX6" fmla="*/ 0 w 1624860"/>
              <a:gd name="connsiteY6" fmla="*/ 125712 h 1440000"/>
              <a:gd name="connsiteX0" fmla="*/ 0 w 1666043"/>
              <a:gd name="connsiteY0" fmla="*/ 125712 h 1440000"/>
              <a:gd name="connsiteX1" fmla="*/ 125712 w 1666043"/>
              <a:gd name="connsiteY1" fmla="*/ 0 h 1440000"/>
              <a:gd name="connsiteX2" fmla="*/ 1458288 w 1666043"/>
              <a:gd name="connsiteY2" fmla="*/ 0 h 1440000"/>
              <a:gd name="connsiteX3" fmla="*/ 1458288 w 1666043"/>
              <a:gd name="connsiteY3" fmla="*/ 1440000 h 1440000"/>
              <a:gd name="connsiteX4" fmla="*/ 125712 w 1666043"/>
              <a:gd name="connsiteY4" fmla="*/ 1440000 h 1440000"/>
              <a:gd name="connsiteX5" fmla="*/ 0 w 1666043"/>
              <a:gd name="connsiteY5" fmla="*/ 1314288 h 1440000"/>
              <a:gd name="connsiteX6" fmla="*/ 0 w 1666043"/>
              <a:gd name="connsiteY6" fmla="*/ 125712 h 1440000"/>
              <a:gd name="connsiteX0" fmla="*/ 0 w 1714742"/>
              <a:gd name="connsiteY0" fmla="*/ 125712 h 1440000"/>
              <a:gd name="connsiteX1" fmla="*/ 125712 w 1714742"/>
              <a:gd name="connsiteY1" fmla="*/ 0 h 1440000"/>
              <a:gd name="connsiteX2" fmla="*/ 1458288 w 1714742"/>
              <a:gd name="connsiteY2" fmla="*/ 0 h 1440000"/>
              <a:gd name="connsiteX3" fmla="*/ 1458288 w 1714742"/>
              <a:gd name="connsiteY3" fmla="*/ 1440000 h 1440000"/>
              <a:gd name="connsiteX4" fmla="*/ 125712 w 1714742"/>
              <a:gd name="connsiteY4" fmla="*/ 1440000 h 1440000"/>
              <a:gd name="connsiteX5" fmla="*/ 0 w 1714742"/>
              <a:gd name="connsiteY5" fmla="*/ 1314288 h 1440000"/>
              <a:gd name="connsiteX6" fmla="*/ 0 w 1714742"/>
              <a:gd name="connsiteY6" fmla="*/ 125712 h 1440000"/>
              <a:gd name="connsiteX0" fmla="*/ 0 w 1556997"/>
              <a:gd name="connsiteY0" fmla="*/ 125712 h 1440000"/>
              <a:gd name="connsiteX1" fmla="*/ 125712 w 1556997"/>
              <a:gd name="connsiteY1" fmla="*/ 0 h 1440000"/>
              <a:gd name="connsiteX2" fmla="*/ 1458288 w 1556997"/>
              <a:gd name="connsiteY2" fmla="*/ 0 h 1440000"/>
              <a:gd name="connsiteX3" fmla="*/ 1458288 w 1556997"/>
              <a:gd name="connsiteY3" fmla="*/ 1440000 h 1440000"/>
              <a:gd name="connsiteX4" fmla="*/ 125712 w 1556997"/>
              <a:gd name="connsiteY4" fmla="*/ 1440000 h 1440000"/>
              <a:gd name="connsiteX5" fmla="*/ 0 w 1556997"/>
              <a:gd name="connsiteY5" fmla="*/ 1314288 h 1440000"/>
              <a:gd name="connsiteX6" fmla="*/ 0 w 1556997"/>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125712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81867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288" h="1440000">
                <a:moveTo>
                  <a:pt x="0" y="125712"/>
                </a:moveTo>
                <a:cubicBezTo>
                  <a:pt x="0" y="56283"/>
                  <a:pt x="12438" y="0"/>
                  <a:pt x="81867" y="0"/>
                </a:cubicBezTo>
                <a:lnTo>
                  <a:pt x="1458288" y="0"/>
                </a:lnTo>
                <a:lnTo>
                  <a:pt x="1458288" y="1440000"/>
                </a:lnTo>
                <a:lnTo>
                  <a:pt x="75290" y="1440000"/>
                </a:lnTo>
                <a:cubicBezTo>
                  <a:pt x="5861" y="1440000"/>
                  <a:pt x="0" y="1383717"/>
                  <a:pt x="0" y="1314288"/>
                </a:cubicBezTo>
                <a:lnTo>
                  <a:pt x="0" y="125712"/>
                </a:lnTo>
                <a:close/>
              </a:path>
            </a:pathLst>
          </a:custGeom>
          <a:solidFill>
            <a:schemeClr val="bg1"/>
          </a:solidFill>
          <a:effectLst/>
        </p:spPr>
        <p:txBody>
          <a:bodyPr/>
          <a:lstStyle>
            <a:lvl1pPr>
              <a:defRPr lang="en-DE" dirty="0"/>
            </a:lvl1pPr>
          </a:lstStyle>
          <a:p>
            <a:r>
              <a:rPr lang="de-DE"/>
              <a:t>Bild durch Klicken auf Symbol hinzufügen</a:t>
            </a:r>
            <a:endParaRPr lang="en-DE" dirty="0"/>
          </a:p>
        </p:txBody>
      </p:sp>
      <p:sp>
        <p:nvSpPr>
          <p:cNvPr id="63" name="subhead 5">
            <a:extLst>
              <a:ext uri="{FF2B5EF4-FFF2-40B4-BE49-F238E27FC236}">
                <a16:creationId xmlns:a16="http://schemas.microsoft.com/office/drawing/2014/main" id="{5E9FF420-AE4E-B6D5-7A75-0EAED10C9583}"/>
              </a:ext>
            </a:extLst>
          </p:cNvPr>
          <p:cNvSpPr>
            <a:spLocks noGrp="1"/>
          </p:cNvSpPr>
          <p:nvPr>
            <p:ph type="body" idx="59"/>
          </p:nvPr>
        </p:nvSpPr>
        <p:spPr>
          <a:xfrm>
            <a:off x="4527278" y="3100676"/>
            <a:ext cx="3600000" cy="1439862"/>
          </a:xfrm>
          <a:prstGeom prst="roundRect">
            <a:avLst>
              <a:gd name="adj" fmla="val 5780"/>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64" name="role 5">
            <a:extLst>
              <a:ext uri="{FF2B5EF4-FFF2-40B4-BE49-F238E27FC236}">
                <a16:creationId xmlns:a16="http://schemas.microsoft.com/office/drawing/2014/main" id="{8F7C39DC-C8E1-D238-124E-F021D16845FB}"/>
              </a:ext>
            </a:extLst>
          </p:cNvPr>
          <p:cNvSpPr>
            <a:spLocks noGrp="1"/>
          </p:cNvSpPr>
          <p:nvPr>
            <p:ph type="body" idx="60" hasCustomPrompt="1"/>
          </p:nvPr>
        </p:nvSpPr>
        <p:spPr>
          <a:xfrm>
            <a:off x="6115328" y="3748574"/>
            <a:ext cx="1979612" cy="792000"/>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65" name="name 5">
            <a:extLst>
              <a:ext uri="{FF2B5EF4-FFF2-40B4-BE49-F238E27FC236}">
                <a16:creationId xmlns:a16="http://schemas.microsoft.com/office/drawing/2014/main" id="{93AF7DC2-179D-17D8-825F-4CD149B78523}"/>
              </a:ext>
            </a:extLst>
          </p:cNvPr>
          <p:cNvSpPr>
            <a:spLocks noGrp="1"/>
          </p:cNvSpPr>
          <p:nvPr>
            <p:ph type="body" idx="61"/>
          </p:nvPr>
        </p:nvSpPr>
        <p:spPr>
          <a:xfrm>
            <a:off x="6115328" y="3111064"/>
            <a:ext cx="1979612" cy="521689"/>
          </a:xfrm>
        </p:spPr>
        <p:txBody>
          <a:bodyPr lIns="144000" rIns="144000" anchor="b" anchorCtr="0"/>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6" name="picture 5">
            <a:extLst>
              <a:ext uri="{FF2B5EF4-FFF2-40B4-BE49-F238E27FC236}">
                <a16:creationId xmlns:a16="http://schemas.microsoft.com/office/drawing/2014/main" id="{E8AF6756-10EA-EB48-BA08-728E45D9EBF2}"/>
              </a:ext>
            </a:extLst>
          </p:cNvPr>
          <p:cNvSpPr>
            <a:spLocks noGrp="1"/>
          </p:cNvSpPr>
          <p:nvPr>
            <p:ph type="pic" sz="quarter" idx="62"/>
          </p:nvPr>
        </p:nvSpPr>
        <p:spPr>
          <a:xfrm>
            <a:off x="4525178" y="3100289"/>
            <a:ext cx="1584000" cy="1440000"/>
          </a:xfrm>
          <a:custGeom>
            <a:avLst/>
            <a:gdLst>
              <a:gd name="connsiteX0" fmla="*/ 0 w 1584000"/>
              <a:gd name="connsiteY0" fmla="*/ 125712 h 1440000"/>
              <a:gd name="connsiteX1" fmla="*/ 125712 w 1584000"/>
              <a:gd name="connsiteY1" fmla="*/ 0 h 1440000"/>
              <a:gd name="connsiteX2" fmla="*/ 1458288 w 1584000"/>
              <a:gd name="connsiteY2" fmla="*/ 0 h 1440000"/>
              <a:gd name="connsiteX3" fmla="*/ 1584000 w 1584000"/>
              <a:gd name="connsiteY3" fmla="*/ 125712 h 1440000"/>
              <a:gd name="connsiteX4" fmla="*/ 1584000 w 1584000"/>
              <a:gd name="connsiteY4" fmla="*/ 1314288 h 1440000"/>
              <a:gd name="connsiteX5" fmla="*/ 1458288 w 1584000"/>
              <a:gd name="connsiteY5" fmla="*/ 1440000 h 1440000"/>
              <a:gd name="connsiteX6" fmla="*/ 125712 w 1584000"/>
              <a:gd name="connsiteY6" fmla="*/ 1440000 h 1440000"/>
              <a:gd name="connsiteX7" fmla="*/ 0 w 1584000"/>
              <a:gd name="connsiteY7" fmla="*/ 1314288 h 1440000"/>
              <a:gd name="connsiteX8" fmla="*/ 0 w 1584000"/>
              <a:gd name="connsiteY8" fmla="*/ 125712 h 1440000"/>
              <a:gd name="connsiteX0" fmla="*/ 0 w 1612314"/>
              <a:gd name="connsiteY0" fmla="*/ 125712 h 1440000"/>
              <a:gd name="connsiteX1" fmla="*/ 125712 w 1612314"/>
              <a:gd name="connsiteY1" fmla="*/ 0 h 1440000"/>
              <a:gd name="connsiteX2" fmla="*/ 1458288 w 1612314"/>
              <a:gd name="connsiteY2" fmla="*/ 0 h 1440000"/>
              <a:gd name="connsiteX3" fmla="*/ 1584000 w 1612314"/>
              <a:gd name="connsiteY3" fmla="*/ 1314288 h 1440000"/>
              <a:gd name="connsiteX4" fmla="*/ 1458288 w 1612314"/>
              <a:gd name="connsiteY4" fmla="*/ 1440000 h 1440000"/>
              <a:gd name="connsiteX5" fmla="*/ 125712 w 1612314"/>
              <a:gd name="connsiteY5" fmla="*/ 1440000 h 1440000"/>
              <a:gd name="connsiteX6" fmla="*/ 0 w 1612314"/>
              <a:gd name="connsiteY6" fmla="*/ 1314288 h 1440000"/>
              <a:gd name="connsiteX7" fmla="*/ 0 w 1612314"/>
              <a:gd name="connsiteY7" fmla="*/ 125712 h 1440000"/>
              <a:gd name="connsiteX0" fmla="*/ 0 w 1624860"/>
              <a:gd name="connsiteY0" fmla="*/ 125712 h 1440000"/>
              <a:gd name="connsiteX1" fmla="*/ 125712 w 1624860"/>
              <a:gd name="connsiteY1" fmla="*/ 0 h 1440000"/>
              <a:gd name="connsiteX2" fmla="*/ 1458288 w 1624860"/>
              <a:gd name="connsiteY2" fmla="*/ 0 h 1440000"/>
              <a:gd name="connsiteX3" fmla="*/ 1458288 w 1624860"/>
              <a:gd name="connsiteY3" fmla="*/ 1440000 h 1440000"/>
              <a:gd name="connsiteX4" fmla="*/ 125712 w 1624860"/>
              <a:gd name="connsiteY4" fmla="*/ 1440000 h 1440000"/>
              <a:gd name="connsiteX5" fmla="*/ 0 w 1624860"/>
              <a:gd name="connsiteY5" fmla="*/ 1314288 h 1440000"/>
              <a:gd name="connsiteX6" fmla="*/ 0 w 1624860"/>
              <a:gd name="connsiteY6" fmla="*/ 125712 h 1440000"/>
              <a:gd name="connsiteX0" fmla="*/ 0 w 1666043"/>
              <a:gd name="connsiteY0" fmla="*/ 125712 h 1440000"/>
              <a:gd name="connsiteX1" fmla="*/ 125712 w 1666043"/>
              <a:gd name="connsiteY1" fmla="*/ 0 h 1440000"/>
              <a:gd name="connsiteX2" fmla="*/ 1458288 w 1666043"/>
              <a:gd name="connsiteY2" fmla="*/ 0 h 1440000"/>
              <a:gd name="connsiteX3" fmla="*/ 1458288 w 1666043"/>
              <a:gd name="connsiteY3" fmla="*/ 1440000 h 1440000"/>
              <a:gd name="connsiteX4" fmla="*/ 125712 w 1666043"/>
              <a:gd name="connsiteY4" fmla="*/ 1440000 h 1440000"/>
              <a:gd name="connsiteX5" fmla="*/ 0 w 1666043"/>
              <a:gd name="connsiteY5" fmla="*/ 1314288 h 1440000"/>
              <a:gd name="connsiteX6" fmla="*/ 0 w 1666043"/>
              <a:gd name="connsiteY6" fmla="*/ 125712 h 1440000"/>
              <a:gd name="connsiteX0" fmla="*/ 0 w 1714742"/>
              <a:gd name="connsiteY0" fmla="*/ 125712 h 1440000"/>
              <a:gd name="connsiteX1" fmla="*/ 125712 w 1714742"/>
              <a:gd name="connsiteY1" fmla="*/ 0 h 1440000"/>
              <a:gd name="connsiteX2" fmla="*/ 1458288 w 1714742"/>
              <a:gd name="connsiteY2" fmla="*/ 0 h 1440000"/>
              <a:gd name="connsiteX3" fmla="*/ 1458288 w 1714742"/>
              <a:gd name="connsiteY3" fmla="*/ 1440000 h 1440000"/>
              <a:gd name="connsiteX4" fmla="*/ 125712 w 1714742"/>
              <a:gd name="connsiteY4" fmla="*/ 1440000 h 1440000"/>
              <a:gd name="connsiteX5" fmla="*/ 0 w 1714742"/>
              <a:gd name="connsiteY5" fmla="*/ 1314288 h 1440000"/>
              <a:gd name="connsiteX6" fmla="*/ 0 w 1714742"/>
              <a:gd name="connsiteY6" fmla="*/ 125712 h 1440000"/>
              <a:gd name="connsiteX0" fmla="*/ 0 w 1556997"/>
              <a:gd name="connsiteY0" fmla="*/ 125712 h 1440000"/>
              <a:gd name="connsiteX1" fmla="*/ 125712 w 1556997"/>
              <a:gd name="connsiteY1" fmla="*/ 0 h 1440000"/>
              <a:gd name="connsiteX2" fmla="*/ 1458288 w 1556997"/>
              <a:gd name="connsiteY2" fmla="*/ 0 h 1440000"/>
              <a:gd name="connsiteX3" fmla="*/ 1458288 w 1556997"/>
              <a:gd name="connsiteY3" fmla="*/ 1440000 h 1440000"/>
              <a:gd name="connsiteX4" fmla="*/ 125712 w 1556997"/>
              <a:gd name="connsiteY4" fmla="*/ 1440000 h 1440000"/>
              <a:gd name="connsiteX5" fmla="*/ 0 w 1556997"/>
              <a:gd name="connsiteY5" fmla="*/ 1314288 h 1440000"/>
              <a:gd name="connsiteX6" fmla="*/ 0 w 1556997"/>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125712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81867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288" h="1440000">
                <a:moveTo>
                  <a:pt x="0" y="125712"/>
                </a:moveTo>
                <a:cubicBezTo>
                  <a:pt x="0" y="56283"/>
                  <a:pt x="12438" y="0"/>
                  <a:pt x="81867" y="0"/>
                </a:cubicBezTo>
                <a:lnTo>
                  <a:pt x="1458288" y="0"/>
                </a:lnTo>
                <a:lnTo>
                  <a:pt x="1458288" y="1440000"/>
                </a:lnTo>
                <a:lnTo>
                  <a:pt x="75290" y="1440000"/>
                </a:lnTo>
                <a:cubicBezTo>
                  <a:pt x="5861" y="1440000"/>
                  <a:pt x="0" y="1383717"/>
                  <a:pt x="0" y="1314288"/>
                </a:cubicBezTo>
                <a:lnTo>
                  <a:pt x="0" y="125712"/>
                </a:lnTo>
                <a:close/>
              </a:path>
            </a:pathLst>
          </a:custGeom>
          <a:solidFill>
            <a:schemeClr val="bg1"/>
          </a:solidFill>
          <a:effectLst/>
        </p:spPr>
        <p:txBody>
          <a:bodyPr/>
          <a:lstStyle>
            <a:lvl1pPr>
              <a:defRPr lang="en-DE" dirty="0"/>
            </a:lvl1pPr>
          </a:lstStyle>
          <a:p>
            <a:r>
              <a:rPr lang="de-DE"/>
              <a:t>Bild durch Klicken auf Symbol hinzufügen</a:t>
            </a:r>
            <a:endParaRPr lang="en-DE" dirty="0"/>
          </a:p>
        </p:txBody>
      </p:sp>
      <p:sp>
        <p:nvSpPr>
          <p:cNvPr id="67" name="subhead 4">
            <a:extLst>
              <a:ext uri="{FF2B5EF4-FFF2-40B4-BE49-F238E27FC236}">
                <a16:creationId xmlns:a16="http://schemas.microsoft.com/office/drawing/2014/main" id="{D5E34A60-AEFD-CB5F-7F16-E61E1EB95B46}"/>
              </a:ext>
            </a:extLst>
          </p:cNvPr>
          <p:cNvSpPr>
            <a:spLocks noGrp="1"/>
          </p:cNvSpPr>
          <p:nvPr>
            <p:ph type="body" idx="63"/>
          </p:nvPr>
        </p:nvSpPr>
        <p:spPr>
          <a:xfrm>
            <a:off x="4527278" y="1484313"/>
            <a:ext cx="3600000" cy="1439862"/>
          </a:xfrm>
          <a:prstGeom prst="roundRect">
            <a:avLst>
              <a:gd name="adj" fmla="val 5780"/>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68" name="role 4">
            <a:extLst>
              <a:ext uri="{FF2B5EF4-FFF2-40B4-BE49-F238E27FC236}">
                <a16:creationId xmlns:a16="http://schemas.microsoft.com/office/drawing/2014/main" id="{E9030E3B-9B95-4FBF-2233-89490F1AF5B0}"/>
              </a:ext>
            </a:extLst>
          </p:cNvPr>
          <p:cNvSpPr>
            <a:spLocks noGrp="1"/>
          </p:cNvSpPr>
          <p:nvPr>
            <p:ph type="body" idx="64" hasCustomPrompt="1"/>
          </p:nvPr>
        </p:nvSpPr>
        <p:spPr>
          <a:xfrm>
            <a:off x="6115328" y="2129036"/>
            <a:ext cx="1979612" cy="792000"/>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69" name="name 4">
            <a:extLst>
              <a:ext uri="{FF2B5EF4-FFF2-40B4-BE49-F238E27FC236}">
                <a16:creationId xmlns:a16="http://schemas.microsoft.com/office/drawing/2014/main" id="{44161A00-43BE-C269-836D-806038B0D335}"/>
              </a:ext>
            </a:extLst>
          </p:cNvPr>
          <p:cNvSpPr>
            <a:spLocks noGrp="1"/>
          </p:cNvSpPr>
          <p:nvPr>
            <p:ph type="body" idx="65"/>
          </p:nvPr>
        </p:nvSpPr>
        <p:spPr>
          <a:xfrm>
            <a:off x="6115328" y="1499145"/>
            <a:ext cx="1979612" cy="521689"/>
          </a:xfrm>
        </p:spPr>
        <p:txBody>
          <a:bodyPr lIns="144000" rIns="144000" anchor="b" anchorCtr="0"/>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70" name="picture 4">
            <a:extLst>
              <a:ext uri="{FF2B5EF4-FFF2-40B4-BE49-F238E27FC236}">
                <a16:creationId xmlns:a16="http://schemas.microsoft.com/office/drawing/2014/main" id="{15F978E7-316F-2B35-EAB8-3EC1599AEF34}"/>
              </a:ext>
            </a:extLst>
          </p:cNvPr>
          <p:cNvSpPr>
            <a:spLocks noGrp="1"/>
          </p:cNvSpPr>
          <p:nvPr>
            <p:ph type="pic" sz="quarter" idx="66"/>
          </p:nvPr>
        </p:nvSpPr>
        <p:spPr>
          <a:xfrm>
            <a:off x="4525178" y="1485107"/>
            <a:ext cx="1584000" cy="1440000"/>
          </a:xfrm>
          <a:custGeom>
            <a:avLst/>
            <a:gdLst>
              <a:gd name="connsiteX0" fmla="*/ 0 w 1584000"/>
              <a:gd name="connsiteY0" fmla="*/ 125712 h 1440000"/>
              <a:gd name="connsiteX1" fmla="*/ 125712 w 1584000"/>
              <a:gd name="connsiteY1" fmla="*/ 0 h 1440000"/>
              <a:gd name="connsiteX2" fmla="*/ 1458288 w 1584000"/>
              <a:gd name="connsiteY2" fmla="*/ 0 h 1440000"/>
              <a:gd name="connsiteX3" fmla="*/ 1584000 w 1584000"/>
              <a:gd name="connsiteY3" fmla="*/ 125712 h 1440000"/>
              <a:gd name="connsiteX4" fmla="*/ 1584000 w 1584000"/>
              <a:gd name="connsiteY4" fmla="*/ 1314288 h 1440000"/>
              <a:gd name="connsiteX5" fmla="*/ 1458288 w 1584000"/>
              <a:gd name="connsiteY5" fmla="*/ 1440000 h 1440000"/>
              <a:gd name="connsiteX6" fmla="*/ 125712 w 1584000"/>
              <a:gd name="connsiteY6" fmla="*/ 1440000 h 1440000"/>
              <a:gd name="connsiteX7" fmla="*/ 0 w 1584000"/>
              <a:gd name="connsiteY7" fmla="*/ 1314288 h 1440000"/>
              <a:gd name="connsiteX8" fmla="*/ 0 w 1584000"/>
              <a:gd name="connsiteY8" fmla="*/ 125712 h 1440000"/>
              <a:gd name="connsiteX0" fmla="*/ 0 w 1612314"/>
              <a:gd name="connsiteY0" fmla="*/ 125712 h 1440000"/>
              <a:gd name="connsiteX1" fmla="*/ 125712 w 1612314"/>
              <a:gd name="connsiteY1" fmla="*/ 0 h 1440000"/>
              <a:gd name="connsiteX2" fmla="*/ 1458288 w 1612314"/>
              <a:gd name="connsiteY2" fmla="*/ 0 h 1440000"/>
              <a:gd name="connsiteX3" fmla="*/ 1584000 w 1612314"/>
              <a:gd name="connsiteY3" fmla="*/ 1314288 h 1440000"/>
              <a:gd name="connsiteX4" fmla="*/ 1458288 w 1612314"/>
              <a:gd name="connsiteY4" fmla="*/ 1440000 h 1440000"/>
              <a:gd name="connsiteX5" fmla="*/ 125712 w 1612314"/>
              <a:gd name="connsiteY5" fmla="*/ 1440000 h 1440000"/>
              <a:gd name="connsiteX6" fmla="*/ 0 w 1612314"/>
              <a:gd name="connsiteY6" fmla="*/ 1314288 h 1440000"/>
              <a:gd name="connsiteX7" fmla="*/ 0 w 1612314"/>
              <a:gd name="connsiteY7" fmla="*/ 125712 h 1440000"/>
              <a:gd name="connsiteX0" fmla="*/ 0 w 1624860"/>
              <a:gd name="connsiteY0" fmla="*/ 125712 h 1440000"/>
              <a:gd name="connsiteX1" fmla="*/ 125712 w 1624860"/>
              <a:gd name="connsiteY1" fmla="*/ 0 h 1440000"/>
              <a:gd name="connsiteX2" fmla="*/ 1458288 w 1624860"/>
              <a:gd name="connsiteY2" fmla="*/ 0 h 1440000"/>
              <a:gd name="connsiteX3" fmla="*/ 1458288 w 1624860"/>
              <a:gd name="connsiteY3" fmla="*/ 1440000 h 1440000"/>
              <a:gd name="connsiteX4" fmla="*/ 125712 w 1624860"/>
              <a:gd name="connsiteY4" fmla="*/ 1440000 h 1440000"/>
              <a:gd name="connsiteX5" fmla="*/ 0 w 1624860"/>
              <a:gd name="connsiteY5" fmla="*/ 1314288 h 1440000"/>
              <a:gd name="connsiteX6" fmla="*/ 0 w 1624860"/>
              <a:gd name="connsiteY6" fmla="*/ 125712 h 1440000"/>
              <a:gd name="connsiteX0" fmla="*/ 0 w 1666043"/>
              <a:gd name="connsiteY0" fmla="*/ 125712 h 1440000"/>
              <a:gd name="connsiteX1" fmla="*/ 125712 w 1666043"/>
              <a:gd name="connsiteY1" fmla="*/ 0 h 1440000"/>
              <a:gd name="connsiteX2" fmla="*/ 1458288 w 1666043"/>
              <a:gd name="connsiteY2" fmla="*/ 0 h 1440000"/>
              <a:gd name="connsiteX3" fmla="*/ 1458288 w 1666043"/>
              <a:gd name="connsiteY3" fmla="*/ 1440000 h 1440000"/>
              <a:gd name="connsiteX4" fmla="*/ 125712 w 1666043"/>
              <a:gd name="connsiteY4" fmla="*/ 1440000 h 1440000"/>
              <a:gd name="connsiteX5" fmla="*/ 0 w 1666043"/>
              <a:gd name="connsiteY5" fmla="*/ 1314288 h 1440000"/>
              <a:gd name="connsiteX6" fmla="*/ 0 w 1666043"/>
              <a:gd name="connsiteY6" fmla="*/ 125712 h 1440000"/>
              <a:gd name="connsiteX0" fmla="*/ 0 w 1714742"/>
              <a:gd name="connsiteY0" fmla="*/ 125712 h 1440000"/>
              <a:gd name="connsiteX1" fmla="*/ 125712 w 1714742"/>
              <a:gd name="connsiteY1" fmla="*/ 0 h 1440000"/>
              <a:gd name="connsiteX2" fmla="*/ 1458288 w 1714742"/>
              <a:gd name="connsiteY2" fmla="*/ 0 h 1440000"/>
              <a:gd name="connsiteX3" fmla="*/ 1458288 w 1714742"/>
              <a:gd name="connsiteY3" fmla="*/ 1440000 h 1440000"/>
              <a:gd name="connsiteX4" fmla="*/ 125712 w 1714742"/>
              <a:gd name="connsiteY4" fmla="*/ 1440000 h 1440000"/>
              <a:gd name="connsiteX5" fmla="*/ 0 w 1714742"/>
              <a:gd name="connsiteY5" fmla="*/ 1314288 h 1440000"/>
              <a:gd name="connsiteX6" fmla="*/ 0 w 1714742"/>
              <a:gd name="connsiteY6" fmla="*/ 125712 h 1440000"/>
              <a:gd name="connsiteX0" fmla="*/ 0 w 1556997"/>
              <a:gd name="connsiteY0" fmla="*/ 125712 h 1440000"/>
              <a:gd name="connsiteX1" fmla="*/ 125712 w 1556997"/>
              <a:gd name="connsiteY1" fmla="*/ 0 h 1440000"/>
              <a:gd name="connsiteX2" fmla="*/ 1458288 w 1556997"/>
              <a:gd name="connsiteY2" fmla="*/ 0 h 1440000"/>
              <a:gd name="connsiteX3" fmla="*/ 1458288 w 1556997"/>
              <a:gd name="connsiteY3" fmla="*/ 1440000 h 1440000"/>
              <a:gd name="connsiteX4" fmla="*/ 125712 w 1556997"/>
              <a:gd name="connsiteY4" fmla="*/ 1440000 h 1440000"/>
              <a:gd name="connsiteX5" fmla="*/ 0 w 1556997"/>
              <a:gd name="connsiteY5" fmla="*/ 1314288 h 1440000"/>
              <a:gd name="connsiteX6" fmla="*/ 0 w 1556997"/>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125712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81867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288" h="1440000">
                <a:moveTo>
                  <a:pt x="0" y="125712"/>
                </a:moveTo>
                <a:cubicBezTo>
                  <a:pt x="0" y="56283"/>
                  <a:pt x="12438" y="0"/>
                  <a:pt x="81867" y="0"/>
                </a:cubicBezTo>
                <a:lnTo>
                  <a:pt x="1458288" y="0"/>
                </a:lnTo>
                <a:lnTo>
                  <a:pt x="1458288" y="1440000"/>
                </a:lnTo>
                <a:lnTo>
                  <a:pt x="75290" y="1440000"/>
                </a:lnTo>
                <a:cubicBezTo>
                  <a:pt x="5861" y="1440000"/>
                  <a:pt x="0" y="1383717"/>
                  <a:pt x="0" y="1314288"/>
                </a:cubicBezTo>
                <a:lnTo>
                  <a:pt x="0" y="125712"/>
                </a:lnTo>
                <a:close/>
              </a:path>
            </a:pathLst>
          </a:custGeom>
          <a:solidFill>
            <a:schemeClr val="bg1"/>
          </a:solidFill>
          <a:effectLst/>
        </p:spPr>
        <p:txBody>
          <a:bodyPr/>
          <a:lstStyle>
            <a:lvl1pPr>
              <a:defRPr lang="en-DE" dirty="0"/>
            </a:lvl1pPr>
          </a:lstStyle>
          <a:p>
            <a:r>
              <a:rPr lang="de-DE"/>
              <a:t>Bild durch Klicken auf Symbol hinzufügen</a:t>
            </a:r>
            <a:endParaRPr lang="en-DE" dirty="0"/>
          </a:p>
        </p:txBody>
      </p:sp>
      <p:sp>
        <p:nvSpPr>
          <p:cNvPr id="46" name="subhead 3">
            <a:extLst>
              <a:ext uri="{FF2B5EF4-FFF2-40B4-BE49-F238E27FC236}">
                <a16:creationId xmlns:a16="http://schemas.microsoft.com/office/drawing/2014/main" id="{7FF688F4-70B6-50A4-AD86-5D144FEF5A58}"/>
              </a:ext>
            </a:extLst>
          </p:cNvPr>
          <p:cNvSpPr>
            <a:spLocks noGrp="1"/>
          </p:cNvSpPr>
          <p:nvPr>
            <p:ph type="body" idx="43"/>
          </p:nvPr>
        </p:nvSpPr>
        <p:spPr>
          <a:xfrm>
            <a:off x="542100" y="4728964"/>
            <a:ext cx="3600000" cy="1439862"/>
          </a:xfrm>
          <a:prstGeom prst="roundRect">
            <a:avLst>
              <a:gd name="adj" fmla="val 5780"/>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47" name="role 3">
            <a:extLst>
              <a:ext uri="{FF2B5EF4-FFF2-40B4-BE49-F238E27FC236}">
                <a16:creationId xmlns:a16="http://schemas.microsoft.com/office/drawing/2014/main" id="{C1A1B634-40BD-DC94-9764-999523388A9D}"/>
              </a:ext>
            </a:extLst>
          </p:cNvPr>
          <p:cNvSpPr>
            <a:spLocks noGrp="1"/>
          </p:cNvSpPr>
          <p:nvPr>
            <p:ph type="body" idx="44" hasCustomPrompt="1"/>
          </p:nvPr>
        </p:nvSpPr>
        <p:spPr>
          <a:xfrm>
            <a:off x="2130150" y="5373687"/>
            <a:ext cx="1979612" cy="792000"/>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48" name="name 3">
            <a:extLst>
              <a:ext uri="{FF2B5EF4-FFF2-40B4-BE49-F238E27FC236}">
                <a16:creationId xmlns:a16="http://schemas.microsoft.com/office/drawing/2014/main" id="{6D004EA4-4D5C-4080-0B1E-EBB977117B61}"/>
              </a:ext>
            </a:extLst>
          </p:cNvPr>
          <p:cNvSpPr>
            <a:spLocks noGrp="1"/>
          </p:cNvSpPr>
          <p:nvPr>
            <p:ph type="body" idx="45"/>
          </p:nvPr>
        </p:nvSpPr>
        <p:spPr>
          <a:xfrm>
            <a:off x="2130150" y="4743797"/>
            <a:ext cx="1979612" cy="521689"/>
          </a:xfrm>
        </p:spPr>
        <p:txBody>
          <a:bodyPr lIns="144000" rIns="144000" anchor="b" anchorCtr="0"/>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0" name="picture 3">
            <a:extLst>
              <a:ext uri="{FF2B5EF4-FFF2-40B4-BE49-F238E27FC236}">
                <a16:creationId xmlns:a16="http://schemas.microsoft.com/office/drawing/2014/main" id="{B9270468-25AD-FE20-2E07-7904EE652A91}"/>
              </a:ext>
            </a:extLst>
          </p:cNvPr>
          <p:cNvSpPr>
            <a:spLocks noGrp="1"/>
          </p:cNvSpPr>
          <p:nvPr>
            <p:ph type="pic" sz="quarter" idx="46"/>
          </p:nvPr>
        </p:nvSpPr>
        <p:spPr>
          <a:xfrm>
            <a:off x="540000" y="4729758"/>
            <a:ext cx="1584000" cy="1440000"/>
          </a:xfrm>
          <a:custGeom>
            <a:avLst/>
            <a:gdLst>
              <a:gd name="connsiteX0" fmla="*/ 0 w 1584000"/>
              <a:gd name="connsiteY0" fmla="*/ 125712 h 1440000"/>
              <a:gd name="connsiteX1" fmla="*/ 125712 w 1584000"/>
              <a:gd name="connsiteY1" fmla="*/ 0 h 1440000"/>
              <a:gd name="connsiteX2" fmla="*/ 1458288 w 1584000"/>
              <a:gd name="connsiteY2" fmla="*/ 0 h 1440000"/>
              <a:gd name="connsiteX3" fmla="*/ 1584000 w 1584000"/>
              <a:gd name="connsiteY3" fmla="*/ 125712 h 1440000"/>
              <a:gd name="connsiteX4" fmla="*/ 1584000 w 1584000"/>
              <a:gd name="connsiteY4" fmla="*/ 1314288 h 1440000"/>
              <a:gd name="connsiteX5" fmla="*/ 1458288 w 1584000"/>
              <a:gd name="connsiteY5" fmla="*/ 1440000 h 1440000"/>
              <a:gd name="connsiteX6" fmla="*/ 125712 w 1584000"/>
              <a:gd name="connsiteY6" fmla="*/ 1440000 h 1440000"/>
              <a:gd name="connsiteX7" fmla="*/ 0 w 1584000"/>
              <a:gd name="connsiteY7" fmla="*/ 1314288 h 1440000"/>
              <a:gd name="connsiteX8" fmla="*/ 0 w 1584000"/>
              <a:gd name="connsiteY8" fmla="*/ 125712 h 1440000"/>
              <a:gd name="connsiteX0" fmla="*/ 0 w 1612314"/>
              <a:gd name="connsiteY0" fmla="*/ 125712 h 1440000"/>
              <a:gd name="connsiteX1" fmla="*/ 125712 w 1612314"/>
              <a:gd name="connsiteY1" fmla="*/ 0 h 1440000"/>
              <a:gd name="connsiteX2" fmla="*/ 1458288 w 1612314"/>
              <a:gd name="connsiteY2" fmla="*/ 0 h 1440000"/>
              <a:gd name="connsiteX3" fmla="*/ 1584000 w 1612314"/>
              <a:gd name="connsiteY3" fmla="*/ 1314288 h 1440000"/>
              <a:gd name="connsiteX4" fmla="*/ 1458288 w 1612314"/>
              <a:gd name="connsiteY4" fmla="*/ 1440000 h 1440000"/>
              <a:gd name="connsiteX5" fmla="*/ 125712 w 1612314"/>
              <a:gd name="connsiteY5" fmla="*/ 1440000 h 1440000"/>
              <a:gd name="connsiteX6" fmla="*/ 0 w 1612314"/>
              <a:gd name="connsiteY6" fmla="*/ 1314288 h 1440000"/>
              <a:gd name="connsiteX7" fmla="*/ 0 w 1612314"/>
              <a:gd name="connsiteY7" fmla="*/ 125712 h 1440000"/>
              <a:gd name="connsiteX0" fmla="*/ 0 w 1624860"/>
              <a:gd name="connsiteY0" fmla="*/ 125712 h 1440000"/>
              <a:gd name="connsiteX1" fmla="*/ 125712 w 1624860"/>
              <a:gd name="connsiteY1" fmla="*/ 0 h 1440000"/>
              <a:gd name="connsiteX2" fmla="*/ 1458288 w 1624860"/>
              <a:gd name="connsiteY2" fmla="*/ 0 h 1440000"/>
              <a:gd name="connsiteX3" fmla="*/ 1458288 w 1624860"/>
              <a:gd name="connsiteY3" fmla="*/ 1440000 h 1440000"/>
              <a:gd name="connsiteX4" fmla="*/ 125712 w 1624860"/>
              <a:gd name="connsiteY4" fmla="*/ 1440000 h 1440000"/>
              <a:gd name="connsiteX5" fmla="*/ 0 w 1624860"/>
              <a:gd name="connsiteY5" fmla="*/ 1314288 h 1440000"/>
              <a:gd name="connsiteX6" fmla="*/ 0 w 1624860"/>
              <a:gd name="connsiteY6" fmla="*/ 125712 h 1440000"/>
              <a:gd name="connsiteX0" fmla="*/ 0 w 1666043"/>
              <a:gd name="connsiteY0" fmla="*/ 125712 h 1440000"/>
              <a:gd name="connsiteX1" fmla="*/ 125712 w 1666043"/>
              <a:gd name="connsiteY1" fmla="*/ 0 h 1440000"/>
              <a:gd name="connsiteX2" fmla="*/ 1458288 w 1666043"/>
              <a:gd name="connsiteY2" fmla="*/ 0 h 1440000"/>
              <a:gd name="connsiteX3" fmla="*/ 1458288 w 1666043"/>
              <a:gd name="connsiteY3" fmla="*/ 1440000 h 1440000"/>
              <a:gd name="connsiteX4" fmla="*/ 125712 w 1666043"/>
              <a:gd name="connsiteY4" fmla="*/ 1440000 h 1440000"/>
              <a:gd name="connsiteX5" fmla="*/ 0 w 1666043"/>
              <a:gd name="connsiteY5" fmla="*/ 1314288 h 1440000"/>
              <a:gd name="connsiteX6" fmla="*/ 0 w 1666043"/>
              <a:gd name="connsiteY6" fmla="*/ 125712 h 1440000"/>
              <a:gd name="connsiteX0" fmla="*/ 0 w 1714742"/>
              <a:gd name="connsiteY0" fmla="*/ 125712 h 1440000"/>
              <a:gd name="connsiteX1" fmla="*/ 125712 w 1714742"/>
              <a:gd name="connsiteY1" fmla="*/ 0 h 1440000"/>
              <a:gd name="connsiteX2" fmla="*/ 1458288 w 1714742"/>
              <a:gd name="connsiteY2" fmla="*/ 0 h 1440000"/>
              <a:gd name="connsiteX3" fmla="*/ 1458288 w 1714742"/>
              <a:gd name="connsiteY3" fmla="*/ 1440000 h 1440000"/>
              <a:gd name="connsiteX4" fmla="*/ 125712 w 1714742"/>
              <a:gd name="connsiteY4" fmla="*/ 1440000 h 1440000"/>
              <a:gd name="connsiteX5" fmla="*/ 0 w 1714742"/>
              <a:gd name="connsiteY5" fmla="*/ 1314288 h 1440000"/>
              <a:gd name="connsiteX6" fmla="*/ 0 w 1714742"/>
              <a:gd name="connsiteY6" fmla="*/ 125712 h 1440000"/>
              <a:gd name="connsiteX0" fmla="*/ 0 w 1556997"/>
              <a:gd name="connsiteY0" fmla="*/ 125712 h 1440000"/>
              <a:gd name="connsiteX1" fmla="*/ 125712 w 1556997"/>
              <a:gd name="connsiteY1" fmla="*/ 0 h 1440000"/>
              <a:gd name="connsiteX2" fmla="*/ 1458288 w 1556997"/>
              <a:gd name="connsiteY2" fmla="*/ 0 h 1440000"/>
              <a:gd name="connsiteX3" fmla="*/ 1458288 w 1556997"/>
              <a:gd name="connsiteY3" fmla="*/ 1440000 h 1440000"/>
              <a:gd name="connsiteX4" fmla="*/ 125712 w 1556997"/>
              <a:gd name="connsiteY4" fmla="*/ 1440000 h 1440000"/>
              <a:gd name="connsiteX5" fmla="*/ 0 w 1556997"/>
              <a:gd name="connsiteY5" fmla="*/ 1314288 h 1440000"/>
              <a:gd name="connsiteX6" fmla="*/ 0 w 1556997"/>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125712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81867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288" h="1440000">
                <a:moveTo>
                  <a:pt x="0" y="125712"/>
                </a:moveTo>
                <a:cubicBezTo>
                  <a:pt x="0" y="56283"/>
                  <a:pt x="12438" y="0"/>
                  <a:pt x="81867" y="0"/>
                </a:cubicBezTo>
                <a:lnTo>
                  <a:pt x="1458288" y="0"/>
                </a:lnTo>
                <a:lnTo>
                  <a:pt x="1458288" y="1440000"/>
                </a:lnTo>
                <a:lnTo>
                  <a:pt x="75290" y="1440000"/>
                </a:lnTo>
                <a:cubicBezTo>
                  <a:pt x="5861" y="1440000"/>
                  <a:pt x="0" y="1383717"/>
                  <a:pt x="0" y="1314288"/>
                </a:cubicBezTo>
                <a:lnTo>
                  <a:pt x="0" y="125712"/>
                </a:lnTo>
                <a:close/>
              </a:path>
            </a:pathLst>
          </a:custGeom>
          <a:solidFill>
            <a:schemeClr val="bg1"/>
          </a:solidFill>
          <a:effectLst/>
        </p:spPr>
        <p:txBody>
          <a:bodyPr/>
          <a:lstStyle>
            <a:lvl1pPr>
              <a:defRPr lang="en-DE" dirty="0"/>
            </a:lvl1pPr>
          </a:lstStyle>
          <a:p>
            <a:r>
              <a:rPr lang="de-DE"/>
              <a:t>Bild durch Klicken auf Symbol hinzufügen</a:t>
            </a:r>
            <a:endParaRPr lang="en-DE" dirty="0"/>
          </a:p>
        </p:txBody>
      </p:sp>
      <p:sp>
        <p:nvSpPr>
          <p:cNvPr id="51" name="subhead 2">
            <a:extLst>
              <a:ext uri="{FF2B5EF4-FFF2-40B4-BE49-F238E27FC236}">
                <a16:creationId xmlns:a16="http://schemas.microsoft.com/office/drawing/2014/main" id="{B299DAE8-5EE0-BE0F-0EB7-2E8B2289B134}"/>
              </a:ext>
            </a:extLst>
          </p:cNvPr>
          <p:cNvSpPr>
            <a:spLocks noGrp="1"/>
          </p:cNvSpPr>
          <p:nvPr>
            <p:ph type="body" idx="47"/>
          </p:nvPr>
        </p:nvSpPr>
        <p:spPr>
          <a:xfrm>
            <a:off x="542100" y="3100676"/>
            <a:ext cx="3600000" cy="1439862"/>
          </a:xfrm>
          <a:prstGeom prst="roundRect">
            <a:avLst>
              <a:gd name="adj" fmla="val 5780"/>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52" name="role 2">
            <a:extLst>
              <a:ext uri="{FF2B5EF4-FFF2-40B4-BE49-F238E27FC236}">
                <a16:creationId xmlns:a16="http://schemas.microsoft.com/office/drawing/2014/main" id="{B746FD40-314C-3697-899E-05FC1C879DD5}"/>
              </a:ext>
            </a:extLst>
          </p:cNvPr>
          <p:cNvSpPr>
            <a:spLocks noGrp="1"/>
          </p:cNvSpPr>
          <p:nvPr>
            <p:ph type="body" idx="48" hasCustomPrompt="1"/>
          </p:nvPr>
        </p:nvSpPr>
        <p:spPr>
          <a:xfrm>
            <a:off x="2130150" y="3748574"/>
            <a:ext cx="1979612" cy="792000"/>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53" name="name 2">
            <a:extLst>
              <a:ext uri="{FF2B5EF4-FFF2-40B4-BE49-F238E27FC236}">
                <a16:creationId xmlns:a16="http://schemas.microsoft.com/office/drawing/2014/main" id="{93DD4974-9E07-4AF9-7BDE-52E99DCCD507}"/>
              </a:ext>
            </a:extLst>
          </p:cNvPr>
          <p:cNvSpPr>
            <a:spLocks noGrp="1"/>
          </p:cNvSpPr>
          <p:nvPr>
            <p:ph type="body" idx="49"/>
          </p:nvPr>
        </p:nvSpPr>
        <p:spPr>
          <a:xfrm>
            <a:off x="2130150" y="3111064"/>
            <a:ext cx="1979612" cy="521689"/>
          </a:xfrm>
        </p:spPr>
        <p:txBody>
          <a:bodyPr lIns="144000" rIns="144000" anchor="b" anchorCtr="0"/>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4" name="picture 2">
            <a:extLst>
              <a:ext uri="{FF2B5EF4-FFF2-40B4-BE49-F238E27FC236}">
                <a16:creationId xmlns:a16="http://schemas.microsoft.com/office/drawing/2014/main" id="{8D77766B-F1D5-2967-9D02-8E610BEE28E5}"/>
              </a:ext>
            </a:extLst>
          </p:cNvPr>
          <p:cNvSpPr>
            <a:spLocks noGrp="1"/>
          </p:cNvSpPr>
          <p:nvPr>
            <p:ph type="pic" sz="quarter" idx="50"/>
          </p:nvPr>
        </p:nvSpPr>
        <p:spPr>
          <a:xfrm>
            <a:off x="540000" y="3100289"/>
            <a:ext cx="1584000" cy="1440000"/>
          </a:xfrm>
          <a:custGeom>
            <a:avLst/>
            <a:gdLst>
              <a:gd name="connsiteX0" fmla="*/ 0 w 1584000"/>
              <a:gd name="connsiteY0" fmla="*/ 125712 h 1440000"/>
              <a:gd name="connsiteX1" fmla="*/ 125712 w 1584000"/>
              <a:gd name="connsiteY1" fmla="*/ 0 h 1440000"/>
              <a:gd name="connsiteX2" fmla="*/ 1458288 w 1584000"/>
              <a:gd name="connsiteY2" fmla="*/ 0 h 1440000"/>
              <a:gd name="connsiteX3" fmla="*/ 1584000 w 1584000"/>
              <a:gd name="connsiteY3" fmla="*/ 125712 h 1440000"/>
              <a:gd name="connsiteX4" fmla="*/ 1584000 w 1584000"/>
              <a:gd name="connsiteY4" fmla="*/ 1314288 h 1440000"/>
              <a:gd name="connsiteX5" fmla="*/ 1458288 w 1584000"/>
              <a:gd name="connsiteY5" fmla="*/ 1440000 h 1440000"/>
              <a:gd name="connsiteX6" fmla="*/ 125712 w 1584000"/>
              <a:gd name="connsiteY6" fmla="*/ 1440000 h 1440000"/>
              <a:gd name="connsiteX7" fmla="*/ 0 w 1584000"/>
              <a:gd name="connsiteY7" fmla="*/ 1314288 h 1440000"/>
              <a:gd name="connsiteX8" fmla="*/ 0 w 1584000"/>
              <a:gd name="connsiteY8" fmla="*/ 125712 h 1440000"/>
              <a:gd name="connsiteX0" fmla="*/ 0 w 1612314"/>
              <a:gd name="connsiteY0" fmla="*/ 125712 h 1440000"/>
              <a:gd name="connsiteX1" fmla="*/ 125712 w 1612314"/>
              <a:gd name="connsiteY1" fmla="*/ 0 h 1440000"/>
              <a:gd name="connsiteX2" fmla="*/ 1458288 w 1612314"/>
              <a:gd name="connsiteY2" fmla="*/ 0 h 1440000"/>
              <a:gd name="connsiteX3" fmla="*/ 1584000 w 1612314"/>
              <a:gd name="connsiteY3" fmla="*/ 1314288 h 1440000"/>
              <a:gd name="connsiteX4" fmla="*/ 1458288 w 1612314"/>
              <a:gd name="connsiteY4" fmla="*/ 1440000 h 1440000"/>
              <a:gd name="connsiteX5" fmla="*/ 125712 w 1612314"/>
              <a:gd name="connsiteY5" fmla="*/ 1440000 h 1440000"/>
              <a:gd name="connsiteX6" fmla="*/ 0 w 1612314"/>
              <a:gd name="connsiteY6" fmla="*/ 1314288 h 1440000"/>
              <a:gd name="connsiteX7" fmla="*/ 0 w 1612314"/>
              <a:gd name="connsiteY7" fmla="*/ 125712 h 1440000"/>
              <a:gd name="connsiteX0" fmla="*/ 0 w 1624860"/>
              <a:gd name="connsiteY0" fmla="*/ 125712 h 1440000"/>
              <a:gd name="connsiteX1" fmla="*/ 125712 w 1624860"/>
              <a:gd name="connsiteY1" fmla="*/ 0 h 1440000"/>
              <a:gd name="connsiteX2" fmla="*/ 1458288 w 1624860"/>
              <a:gd name="connsiteY2" fmla="*/ 0 h 1440000"/>
              <a:gd name="connsiteX3" fmla="*/ 1458288 w 1624860"/>
              <a:gd name="connsiteY3" fmla="*/ 1440000 h 1440000"/>
              <a:gd name="connsiteX4" fmla="*/ 125712 w 1624860"/>
              <a:gd name="connsiteY4" fmla="*/ 1440000 h 1440000"/>
              <a:gd name="connsiteX5" fmla="*/ 0 w 1624860"/>
              <a:gd name="connsiteY5" fmla="*/ 1314288 h 1440000"/>
              <a:gd name="connsiteX6" fmla="*/ 0 w 1624860"/>
              <a:gd name="connsiteY6" fmla="*/ 125712 h 1440000"/>
              <a:gd name="connsiteX0" fmla="*/ 0 w 1666043"/>
              <a:gd name="connsiteY0" fmla="*/ 125712 h 1440000"/>
              <a:gd name="connsiteX1" fmla="*/ 125712 w 1666043"/>
              <a:gd name="connsiteY1" fmla="*/ 0 h 1440000"/>
              <a:gd name="connsiteX2" fmla="*/ 1458288 w 1666043"/>
              <a:gd name="connsiteY2" fmla="*/ 0 h 1440000"/>
              <a:gd name="connsiteX3" fmla="*/ 1458288 w 1666043"/>
              <a:gd name="connsiteY3" fmla="*/ 1440000 h 1440000"/>
              <a:gd name="connsiteX4" fmla="*/ 125712 w 1666043"/>
              <a:gd name="connsiteY4" fmla="*/ 1440000 h 1440000"/>
              <a:gd name="connsiteX5" fmla="*/ 0 w 1666043"/>
              <a:gd name="connsiteY5" fmla="*/ 1314288 h 1440000"/>
              <a:gd name="connsiteX6" fmla="*/ 0 w 1666043"/>
              <a:gd name="connsiteY6" fmla="*/ 125712 h 1440000"/>
              <a:gd name="connsiteX0" fmla="*/ 0 w 1714742"/>
              <a:gd name="connsiteY0" fmla="*/ 125712 h 1440000"/>
              <a:gd name="connsiteX1" fmla="*/ 125712 w 1714742"/>
              <a:gd name="connsiteY1" fmla="*/ 0 h 1440000"/>
              <a:gd name="connsiteX2" fmla="*/ 1458288 w 1714742"/>
              <a:gd name="connsiteY2" fmla="*/ 0 h 1440000"/>
              <a:gd name="connsiteX3" fmla="*/ 1458288 w 1714742"/>
              <a:gd name="connsiteY3" fmla="*/ 1440000 h 1440000"/>
              <a:gd name="connsiteX4" fmla="*/ 125712 w 1714742"/>
              <a:gd name="connsiteY4" fmla="*/ 1440000 h 1440000"/>
              <a:gd name="connsiteX5" fmla="*/ 0 w 1714742"/>
              <a:gd name="connsiteY5" fmla="*/ 1314288 h 1440000"/>
              <a:gd name="connsiteX6" fmla="*/ 0 w 1714742"/>
              <a:gd name="connsiteY6" fmla="*/ 125712 h 1440000"/>
              <a:gd name="connsiteX0" fmla="*/ 0 w 1556997"/>
              <a:gd name="connsiteY0" fmla="*/ 125712 h 1440000"/>
              <a:gd name="connsiteX1" fmla="*/ 125712 w 1556997"/>
              <a:gd name="connsiteY1" fmla="*/ 0 h 1440000"/>
              <a:gd name="connsiteX2" fmla="*/ 1458288 w 1556997"/>
              <a:gd name="connsiteY2" fmla="*/ 0 h 1440000"/>
              <a:gd name="connsiteX3" fmla="*/ 1458288 w 1556997"/>
              <a:gd name="connsiteY3" fmla="*/ 1440000 h 1440000"/>
              <a:gd name="connsiteX4" fmla="*/ 125712 w 1556997"/>
              <a:gd name="connsiteY4" fmla="*/ 1440000 h 1440000"/>
              <a:gd name="connsiteX5" fmla="*/ 0 w 1556997"/>
              <a:gd name="connsiteY5" fmla="*/ 1314288 h 1440000"/>
              <a:gd name="connsiteX6" fmla="*/ 0 w 1556997"/>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125712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81867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288" h="1440000">
                <a:moveTo>
                  <a:pt x="0" y="125712"/>
                </a:moveTo>
                <a:cubicBezTo>
                  <a:pt x="0" y="56283"/>
                  <a:pt x="12438" y="0"/>
                  <a:pt x="81867" y="0"/>
                </a:cubicBezTo>
                <a:lnTo>
                  <a:pt x="1458288" y="0"/>
                </a:lnTo>
                <a:lnTo>
                  <a:pt x="1458288" y="1440000"/>
                </a:lnTo>
                <a:lnTo>
                  <a:pt x="75290" y="1440000"/>
                </a:lnTo>
                <a:cubicBezTo>
                  <a:pt x="5861" y="1440000"/>
                  <a:pt x="0" y="1383717"/>
                  <a:pt x="0" y="1314288"/>
                </a:cubicBezTo>
                <a:lnTo>
                  <a:pt x="0" y="125712"/>
                </a:lnTo>
                <a:close/>
              </a:path>
            </a:pathLst>
          </a:custGeom>
          <a:solidFill>
            <a:schemeClr val="bg1"/>
          </a:solidFill>
          <a:effectLst/>
        </p:spPr>
        <p:txBody>
          <a:bodyPr/>
          <a:lstStyle>
            <a:lvl1pPr>
              <a:defRPr lang="en-DE" dirty="0"/>
            </a:lvl1pPr>
          </a:lstStyle>
          <a:p>
            <a:r>
              <a:rPr lang="de-DE"/>
              <a:t>Bild durch Klicken auf Symbol hinzufügen</a:t>
            </a:r>
            <a:endParaRPr lang="en-DE" dirty="0"/>
          </a:p>
        </p:txBody>
      </p:sp>
      <p:sp>
        <p:nvSpPr>
          <p:cNvPr id="55" name="subhead 1">
            <a:extLst>
              <a:ext uri="{FF2B5EF4-FFF2-40B4-BE49-F238E27FC236}">
                <a16:creationId xmlns:a16="http://schemas.microsoft.com/office/drawing/2014/main" id="{83DA22D8-9131-568E-6E2F-B7A56687533C}"/>
              </a:ext>
            </a:extLst>
          </p:cNvPr>
          <p:cNvSpPr>
            <a:spLocks noGrp="1"/>
          </p:cNvSpPr>
          <p:nvPr>
            <p:ph type="body" idx="51"/>
          </p:nvPr>
        </p:nvSpPr>
        <p:spPr>
          <a:xfrm>
            <a:off x="542100" y="1484313"/>
            <a:ext cx="3600000" cy="1439862"/>
          </a:xfrm>
          <a:prstGeom prst="roundRect">
            <a:avLst>
              <a:gd name="adj" fmla="val 5780"/>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56" name="role 1">
            <a:extLst>
              <a:ext uri="{FF2B5EF4-FFF2-40B4-BE49-F238E27FC236}">
                <a16:creationId xmlns:a16="http://schemas.microsoft.com/office/drawing/2014/main" id="{4BDE1970-44C9-ADD3-EE45-3879EA6103C9}"/>
              </a:ext>
            </a:extLst>
          </p:cNvPr>
          <p:cNvSpPr>
            <a:spLocks noGrp="1"/>
          </p:cNvSpPr>
          <p:nvPr>
            <p:ph type="body" idx="52" hasCustomPrompt="1"/>
          </p:nvPr>
        </p:nvSpPr>
        <p:spPr>
          <a:xfrm>
            <a:off x="2130150" y="2129036"/>
            <a:ext cx="1979612" cy="792000"/>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57" name="name 1">
            <a:extLst>
              <a:ext uri="{FF2B5EF4-FFF2-40B4-BE49-F238E27FC236}">
                <a16:creationId xmlns:a16="http://schemas.microsoft.com/office/drawing/2014/main" id="{9C57D439-9620-24B8-87D8-5D3533B43D0E}"/>
              </a:ext>
            </a:extLst>
          </p:cNvPr>
          <p:cNvSpPr>
            <a:spLocks noGrp="1"/>
          </p:cNvSpPr>
          <p:nvPr>
            <p:ph type="body" idx="53"/>
          </p:nvPr>
        </p:nvSpPr>
        <p:spPr>
          <a:xfrm>
            <a:off x="2130150" y="1499145"/>
            <a:ext cx="1979612" cy="521689"/>
          </a:xfrm>
        </p:spPr>
        <p:txBody>
          <a:bodyPr lIns="144000" rIns="144000" anchor="b" anchorCtr="0"/>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8" name="picture 1">
            <a:extLst>
              <a:ext uri="{FF2B5EF4-FFF2-40B4-BE49-F238E27FC236}">
                <a16:creationId xmlns:a16="http://schemas.microsoft.com/office/drawing/2014/main" id="{9FBEFBBA-35B6-CE98-58D2-8F96D15F6FF4}"/>
              </a:ext>
            </a:extLst>
          </p:cNvPr>
          <p:cNvSpPr>
            <a:spLocks noGrp="1"/>
          </p:cNvSpPr>
          <p:nvPr>
            <p:ph type="pic" sz="quarter" idx="54"/>
          </p:nvPr>
        </p:nvSpPr>
        <p:spPr>
          <a:xfrm>
            <a:off x="540000" y="1485107"/>
            <a:ext cx="1584000" cy="1440000"/>
          </a:xfrm>
          <a:custGeom>
            <a:avLst/>
            <a:gdLst>
              <a:gd name="connsiteX0" fmla="*/ 0 w 1584000"/>
              <a:gd name="connsiteY0" fmla="*/ 125712 h 1440000"/>
              <a:gd name="connsiteX1" fmla="*/ 125712 w 1584000"/>
              <a:gd name="connsiteY1" fmla="*/ 0 h 1440000"/>
              <a:gd name="connsiteX2" fmla="*/ 1458288 w 1584000"/>
              <a:gd name="connsiteY2" fmla="*/ 0 h 1440000"/>
              <a:gd name="connsiteX3" fmla="*/ 1584000 w 1584000"/>
              <a:gd name="connsiteY3" fmla="*/ 125712 h 1440000"/>
              <a:gd name="connsiteX4" fmla="*/ 1584000 w 1584000"/>
              <a:gd name="connsiteY4" fmla="*/ 1314288 h 1440000"/>
              <a:gd name="connsiteX5" fmla="*/ 1458288 w 1584000"/>
              <a:gd name="connsiteY5" fmla="*/ 1440000 h 1440000"/>
              <a:gd name="connsiteX6" fmla="*/ 125712 w 1584000"/>
              <a:gd name="connsiteY6" fmla="*/ 1440000 h 1440000"/>
              <a:gd name="connsiteX7" fmla="*/ 0 w 1584000"/>
              <a:gd name="connsiteY7" fmla="*/ 1314288 h 1440000"/>
              <a:gd name="connsiteX8" fmla="*/ 0 w 1584000"/>
              <a:gd name="connsiteY8" fmla="*/ 125712 h 1440000"/>
              <a:gd name="connsiteX0" fmla="*/ 0 w 1612314"/>
              <a:gd name="connsiteY0" fmla="*/ 125712 h 1440000"/>
              <a:gd name="connsiteX1" fmla="*/ 125712 w 1612314"/>
              <a:gd name="connsiteY1" fmla="*/ 0 h 1440000"/>
              <a:gd name="connsiteX2" fmla="*/ 1458288 w 1612314"/>
              <a:gd name="connsiteY2" fmla="*/ 0 h 1440000"/>
              <a:gd name="connsiteX3" fmla="*/ 1584000 w 1612314"/>
              <a:gd name="connsiteY3" fmla="*/ 1314288 h 1440000"/>
              <a:gd name="connsiteX4" fmla="*/ 1458288 w 1612314"/>
              <a:gd name="connsiteY4" fmla="*/ 1440000 h 1440000"/>
              <a:gd name="connsiteX5" fmla="*/ 125712 w 1612314"/>
              <a:gd name="connsiteY5" fmla="*/ 1440000 h 1440000"/>
              <a:gd name="connsiteX6" fmla="*/ 0 w 1612314"/>
              <a:gd name="connsiteY6" fmla="*/ 1314288 h 1440000"/>
              <a:gd name="connsiteX7" fmla="*/ 0 w 1612314"/>
              <a:gd name="connsiteY7" fmla="*/ 125712 h 1440000"/>
              <a:gd name="connsiteX0" fmla="*/ 0 w 1624860"/>
              <a:gd name="connsiteY0" fmla="*/ 125712 h 1440000"/>
              <a:gd name="connsiteX1" fmla="*/ 125712 w 1624860"/>
              <a:gd name="connsiteY1" fmla="*/ 0 h 1440000"/>
              <a:gd name="connsiteX2" fmla="*/ 1458288 w 1624860"/>
              <a:gd name="connsiteY2" fmla="*/ 0 h 1440000"/>
              <a:gd name="connsiteX3" fmla="*/ 1458288 w 1624860"/>
              <a:gd name="connsiteY3" fmla="*/ 1440000 h 1440000"/>
              <a:gd name="connsiteX4" fmla="*/ 125712 w 1624860"/>
              <a:gd name="connsiteY4" fmla="*/ 1440000 h 1440000"/>
              <a:gd name="connsiteX5" fmla="*/ 0 w 1624860"/>
              <a:gd name="connsiteY5" fmla="*/ 1314288 h 1440000"/>
              <a:gd name="connsiteX6" fmla="*/ 0 w 1624860"/>
              <a:gd name="connsiteY6" fmla="*/ 125712 h 1440000"/>
              <a:gd name="connsiteX0" fmla="*/ 0 w 1666043"/>
              <a:gd name="connsiteY0" fmla="*/ 125712 h 1440000"/>
              <a:gd name="connsiteX1" fmla="*/ 125712 w 1666043"/>
              <a:gd name="connsiteY1" fmla="*/ 0 h 1440000"/>
              <a:gd name="connsiteX2" fmla="*/ 1458288 w 1666043"/>
              <a:gd name="connsiteY2" fmla="*/ 0 h 1440000"/>
              <a:gd name="connsiteX3" fmla="*/ 1458288 w 1666043"/>
              <a:gd name="connsiteY3" fmla="*/ 1440000 h 1440000"/>
              <a:gd name="connsiteX4" fmla="*/ 125712 w 1666043"/>
              <a:gd name="connsiteY4" fmla="*/ 1440000 h 1440000"/>
              <a:gd name="connsiteX5" fmla="*/ 0 w 1666043"/>
              <a:gd name="connsiteY5" fmla="*/ 1314288 h 1440000"/>
              <a:gd name="connsiteX6" fmla="*/ 0 w 1666043"/>
              <a:gd name="connsiteY6" fmla="*/ 125712 h 1440000"/>
              <a:gd name="connsiteX0" fmla="*/ 0 w 1714742"/>
              <a:gd name="connsiteY0" fmla="*/ 125712 h 1440000"/>
              <a:gd name="connsiteX1" fmla="*/ 125712 w 1714742"/>
              <a:gd name="connsiteY1" fmla="*/ 0 h 1440000"/>
              <a:gd name="connsiteX2" fmla="*/ 1458288 w 1714742"/>
              <a:gd name="connsiteY2" fmla="*/ 0 h 1440000"/>
              <a:gd name="connsiteX3" fmla="*/ 1458288 w 1714742"/>
              <a:gd name="connsiteY3" fmla="*/ 1440000 h 1440000"/>
              <a:gd name="connsiteX4" fmla="*/ 125712 w 1714742"/>
              <a:gd name="connsiteY4" fmla="*/ 1440000 h 1440000"/>
              <a:gd name="connsiteX5" fmla="*/ 0 w 1714742"/>
              <a:gd name="connsiteY5" fmla="*/ 1314288 h 1440000"/>
              <a:gd name="connsiteX6" fmla="*/ 0 w 1714742"/>
              <a:gd name="connsiteY6" fmla="*/ 125712 h 1440000"/>
              <a:gd name="connsiteX0" fmla="*/ 0 w 1556997"/>
              <a:gd name="connsiteY0" fmla="*/ 125712 h 1440000"/>
              <a:gd name="connsiteX1" fmla="*/ 125712 w 1556997"/>
              <a:gd name="connsiteY1" fmla="*/ 0 h 1440000"/>
              <a:gd name="connsiteX2" fmla="*/ 1458288 w 1556997"/>
              <a:gd name="connsiteY2" fmla="*/ 0 h 1440000"/>
              <a:gd name="connsiteX3" fmla="*/ 1458288 w 1556997"/>
              <a:gd name="connsiteY3" fmla="*/ 1440000 h 1440000"/>
              <a:gd name="connsiteX4" fmla="*/ 125712 w 1556997"/>
              <a:gd name="connsiteY4" fmla="*/ 1440000 h 1440000"/>
              <a:gd name="connsiteX5" fmla="*/ 0 w 1556997"/>
              <a:gd name="connsiteY5" fmla="*/ 1314288 h 1440000"/>
              <a:gd name="connsiteX6" fmla="*/ 0 w 1556997"/>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125712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125712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 name="connsiteX0" fmla="*/ 0 w 1458288"/>
              <a:gd name="connsiteY0" fmla="*/ 125712 h 1440000"/>
              <a:gd name="connsiteX1" fmla="*/ 81867 w 1458288"/>
              <a:gd name="connsiteY1" fmla="*/ 0 h 1440000"/>
              <a:gd name="connsiteX2" fmla="*/ 1458288 w 1458288"/>
              <a:gd name="connsiteY2" fmla="*/ 0 h 1440000"/>
              <a:gd name="connsiteX3" fmla="*/ 1458288 w 1458288"/>
              <a:gd name="connsiteY3" fmla="*/ 1440000 h 1440000"/>
              <a:gd name="connsiteX4" fmla="*/ 75290 w 1458288"/>
              <a:gd name="connsiteY4" fmla="*/ 1440000 h 1440000"/>
              <a:gd name="connsiteX5" fmla="*/ 0 w 1458288"/>
              <a:gd name="connsiteY5" fmla="*/ 1314288 h 1440000"/>
              <a:gd name="connsiteX6" fmla="*/ 0 w 1458288"/>
              <a:gd name="connsiteY6" fmla="*/ 125712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288" h="1440000">
                <a:moveTo>
                  <a:pt x="0" y="125712"/>
                </a:moveTo>
                <a:cubicBezTo>
                  <a:pt x="0" y="56283"/>
                  <a:pt x="12438" y="0"/>
                  <a:pt x="81867" y="0"/>
                </a:cubicBezTo>
                <a:lnTo>
                  <a:pt x="1458288" y="0"/>
                </a:lnTo>
                <a:lnTo>
                  <a:pt x="1458288" y="1440000"/>
                </a:lnTo>
                <a:lnTo>
                  <a:pt x="75290" y="1440000"/>
                </a:lnTo>
                <a:cubicBezTo>
                  <a:pt x="5861" y="1440000"/>
                  <a:pt x="0" y="1383717"/>
                  <a:pt x="0" y="1314288"/>
                </a:cubicBezTo>
                <a:lnTo>
                  <a:pt x="0" y="125712"/>
                </a:lnTo>
                <a:close/>
              </a:path>
            </a:pathLst>
          </a:custGeom>
          <a:solidFill>
            <a:schemeClr val="bg1"/>
          </a:solidFill>
          <a:effectLst/>
        </p:spPr>
        <p:txBody>
          <a:bodyPr/>
          <a:lstStyle>
            <a:lvl1pPr>
              <a:defRPr lang="en-DE" dirty="0"/>
            </a:lvl1pPr>
          </a:lstStyle>
          <a:p>
            <a:r>
              <a:rPr lang="de-DE"/>
              <a:t>Bild durch Klicken auf Symbol hinzufügen</a:t>
            </a:r>
            <a:endParaRPr lang="en-DE" dirty="0"/>
          </a:p>
        </p:txBody>
      </p:sp>
      <p:sp>
        <p:nvSpPr>
          <p:cNvPr id="7" name="title">
            <a:extLst>
              <a:ext uri="{FF2B5EF4-FFF2-40B4-BE49-F238E27FC236}">
                <a16:creationId xmlns:a16="http://schemas.microsoft.com/office/drawing/2014/main" id="{4E344807-457D-3CED-9971-F478B70A69F3}"/>
              </a:ext>
            </a:extLst>
          </p:cNvPr>
          <p:cNvSpPr>
            <a:spLocks noGrp="1"/>
          </p:cNvSpPr>
          <p:nvPr>
            <p:ph type="title"/>
          </p:nvPr>
        </p:nvSpPr>
        <p:spPr/>
        <p:txBody>
          <a:bodyPr vert="horz"/>
          <a:lstStyle/>
          <a:p>
            <a:r>
              <a:rPr lang="de-DE"/>
              <a:t>Mastertitelformat bearbeiten</a:t>
            </a:r>
            <a:endParaRPr lang="en-US"/>
          </a:p>
        </p:txBody>
      </p:sp>
      <p:sp>
        <p:nvSpPr>
          <p:cNvPr id="4" name="navigation">
            <a:extLst>
              <a:ext uri="{FF2B5EF4-FFF2-40B4-BE49-F238E27FC236}">
                <a16:creationId xmlns:a16="http://schemas.microsoft.com/office/drawing/2014/main" id="{3CCF9C9E-CC68-9C72-1637-DC78701B6BD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900749088"/>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   049 : team : 8 pictures : 8 names + roles">
    <p:spTree>
      <p:nvGrpSpPr>
        <p:cNvPr id="1" name=""/>
        <p:cNvGrpSpPr/>
        <p:nvPr/>
      </p:nvGrpSpPr>
      <p:grpSpPr>
        <a:xfrm>
          <a:off x="0" y="0"/>
          <a:ext cx="0" cy="0"/>
          <a:chOff x="0" y="0"/>
          <a:chExt cx="0" cy="0"/>
        </a:xfrm>
      </p:grpSpPr>
      <p:sp>
        <p:nvSpPr>
          <p:cNvPr id="41" name="slide number">
            <a:extLst>
              <a:ext uri="{FF2B5EF4-FFF2-40B4-BE49-F238E27FC236}">
                <a16:creationId xmlns:a16="http://schemas.microsoft.com/office/drawing/2014/main" id="{BFE64E29-7CD5-4375-8CC6-67F88FF8CFE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45" name="footer">
            <a:extLst>
              <a:ext uri="{FF2B5EF4-FFF2-40B4-BE49-F238E27FC236}">
                <a16:creationId xmlns:a16="http://schemas.microsoft.com/office/drawing/2014/main" id="{47FF2C98-89C2-049B-2264-7381416C86B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46" name="date">
            <a:extLst>
              <a:ext uri="{FF2B5EF4-FFF2-40B4-BE49-F238E27FC236}">
                <a16:creationId xmlns:a16="http://schemas.microsoft.com/office/drawing/2014/main" id="{E5D7A60A-319A-B603-01C5-CB1B6D25755F}"/>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33" name="shadow 8">
            <a:extLst>
              <a:ext uri="{FF2B5EF4-FFF2-40B4-BE49-F238E27FC236}">
                <a16:creationId xmlns:a16="http://schemas.microsoft.com/office/drawing/2014/main" id="{CE02D8CB-EE4E-1691-934F-B881E6F65587}"/>
              </a:ext>
            </a:extLst>
          </p:cNvPr>
          <p:cNvSpPr>
            <a:spLocks noGrp="1"/>
          </p:cNvSpPr>
          <p:nvPr>
            <p:ph type="body" idx="49" hasCustomPrompt="1"/>
          </p:nvPr>
        </p:nvSpPr>
        <p:spPr>
          <a:xfrm>
            <a:off x="9114072" y="3933449"/>
            <a:ext cx="2520000" cy="2232000"/>
          </a:xfrm>
          <a:prstGeom prst="roundRect">
            <a:avLst>
              <a:gd name="adj" fmla="val 1408"/>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31" name="role 8">
            <a:extLst>
              <a:ext uri="{FF2B5EF4-FFF2-40B4-BE49-F238E27FC236}">
                <a16:creationId xmlns:a16="http://schemas.microsoft.com/office/drawing/2014/main" id="{302AB1C0-479A-FBFB-9955-F8FEBE62F170}"/>
              </a:ext>
            </a:extLst>
          </p:cNvPr>
          <p:cNvSpPr>
            <a:spLocks noGrp="1"/>
          </p:cNvSpPr>
          <p:nvPr>
            <p:ph type="body" idx="30"/>
          </p:nvPr>
        </p:nvSpPr>
        <p:spPr>
          <a:xfrm>
            <a:off x="9115977" y="570789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2" name="name 8">
            <a:extLst>
              <a:ext uri="{FF2B5EF4-FFF2-40B4-BE49-F238E27FC236}">
                <a16:creationId xmlns:a16="http://schemas.microsoft.com/office/drawing/2014/main" id="{94859EF9-9A41-580A-9F10-2BACF1F685FE}"/>
              </a:ext>
            </a:extLst>
          </p:cNvPr>
          <p:cNvSpPr>
            <a:spLocks noGrp="1"/>
          </p:cNvSpPr>
          <p:nvPr>
            <p:ph type="body" idx="31"/>
          </p:nvPr>
        </p:nvSpPr>
        <p:spPr>
          <a:xfrm>
            <a:off x="9115977" y="5326097"/>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3" name="picture 8">
            <a:extLst>
              <a:ext uri="{FF2B5EF4-FFF2-40B4-BE49-F238E27FC236}">
                <a16:creationId xmlns:a16="http://schemas.microsoft.com/office/drawing/2014/main" id="{FE543985-DC92-083A-617A-9FC05C614B47}"/>
              </a:ext>
            </a:extLst>
          </p:cNvPr>
          <p:cNvSpPr>
            <a:spLocks noGrp="1"/>
          </p:cNvSpPr>
          <p:nvPr>
            <p:ph type="pic" sz="quarter" idx="56"/>
          </p:nvPr>
        </p:nvSpPr>
        <p:spPr>
          <a:xfrm>
            <a:off x="9114072" y="3930913"/>
            <a:ext cx="2520000" cy="1260000"/>
          </a:xfrm>
          <a:prstGeom prst="round2SameRect">
            <a:avLst>
              <a:gd name="adj1" fmla="val 2241"/>
              <a:gd name="adj2" fmla="val 0"/>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dirty="0"/>
          </a:p>
        </p:txBody>
      </p:sp>
      <p:sp>
        <p:nvSpPr>
          <p:cNvPr id="37" name="shadow 7">
            <a:extLst>
              <a:ext uri="{FF2B5EF4-FFF2-40B4-BE49-F238E27FC236}">
                <a16:creationId xmlns:a16="http://schemas.microsoft.com/office/drawing/2014/main" id="{2C969293-E19E-E84A-FED1-CD886368A36F}"/>
              </a:ext>
            </a:extLst>
          </p:cNvPr>
          <p:cNvSpPr>
            <a:spLocks noGrp="1"/>
          </p:cNvSpPr>
          <p:nvPr>
            <p:ph type="body" idx="50" hasCustomPrompt="1"/>
          </p:nvPr>
        </p:nvSpPr>
        <p:spPr>
          <a:xfrm>
            <a:off x="6254609" y="3933449"/>
            <a:ext cx="2520000" cy="2232000"/>
          </a:xfrm>
          <a:prstGeom prst="roundRect">
            <a:avLst>
              <a:gd name="adj" fmla="val 1408"/>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35" name="role 7">
            <a:extLst>
              <a:ext uri="{FF2B5EF4-FFF2-40B4-BE49-F238E27FC236}">
                <a16:creationId xmlns:a16="http://schemas.microsoft.com/office/drawing/2014/main" id="{5F4DB279-E952-57B0-ABF3-55F96BC5C067}"/>
              </a:ext>
            </a:extLst>
          </p:cNvPr>
          <p:cNvSpPr>
            <a:spLocks noGrp="1"/>
          </p:cNvSpPr>
          <p:nvPr>
            <p:ph type="body" idx="33"/>
          </p:nvPr>
        </p:nvSpPr>
        <p:spPr>
          <a:xfrm>
            <a:off x="6257318" y="570789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6" name="name 7">
            <a:extLst>
              <a:ext uri="{FF2B5EF4-FFF2-40B4-BE49-F238E27FC236}">
                <a16:creationId xmlns:a16="http://schemas.microsoft.com/office/drawing/2014/main" id="{10CF9B7A-17B4-319D-3918-781E07C7378D}"/>
              </a:ext>
            </a:extLst>
          </p:cNvPr>
          <p:cNvSpPr>
            <a:spLocks noGrp="1"/>
          </p:cNvSpPr>
          <p:nvPr>
            <p:ph type="body" idx="34"/>
          </p:nvPr>
        </p:nvSpPr>
        <p:spPr>
          <a:xfrm>
            <a:off x="6257318" y="5326097"/>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4" name="picture 7">
            <a:extLst>
              <a:ext uri="{FF2B5EF4-FFF2-40B4-BE49-F238E27FC236}">
                <a16:creationId xmlns:a16="http://schemas.microsoft.com/office/drawing/2014/main" id="{D7B201F6-D373-C243-C95A-AE686BB29E52}"/>
              </a:ext>
            </a:extLst>
          </p:cNvPr>
          <p:cNvSpPr>
            <a:spLocks noGrp="1"/>
          </p:cNvSpPr>
          <p:nvPr>
            <p:ph type="pic" sz="quarter" idx="57"/>
          </p:nvPr>
        </p:nvSpPr>
        <p:spPr>
          <a:xfrm>
            <a:off x="6254989" y="3930913"/>
            <a:ext cx="2520000" cy="1260000"/>
          </a:xfrm>
          <a:prstGeom prst="round2SameRect">
            <a:avLst>
              <a:gd name="adj1" fmla="val 2241"/>
              <a:gd name="adj2" fmla="val 0"/>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dirty="0"/>
          </a:p>
        </p:txBody>
      </p:sp>
      <p:sp>
        <p:nvSpPr>
          <p:cNvPr id="47" name="shadow 6">
            <a:extLst>
              <a:ext uri="{FF2B5EF4-FFF2-40B4-BE49-F238E27FC236}">
                <a16:creationId xmlns:a16="http://schemas.microsoft.com/office/drawing/2014/main" id="{B89B5AF9-A957-3B6C-581A-8F95971D3938}"/>
              </a:ext>
            </a:extLst>
          </p:cNvPr>
          <p:cNvSpPr>
            <a:spLocks noGrp="1"/>
          </p:cNvSpPr>
          <p:nvPr>
            <p:ph type="body" idx="51" hasCustomPrompt="1"/>
          </p:nvPr>
        </p:nvSpPr>
        <p:spPr>
          <a:xfrm>
            <a:off x="3395147" y="3933449"/>
            <a:ext cx="2520000" cy="2232000"/>
          </a:xfrm>
          <a:prstGeom prst="roundRect">
            <a:avLst>
              <a:gd name="adj" fmla="val 1408"/>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39" name="role 6">
            <a:extLst>
              <a:ext uri="{FF2B5EF4-FFF2-40B4-BE49-F238E27FC236}">
                <a16:creationId xmlns:a16="http://schemas.microsoft.com/office/drawing/2014/main" id="{203BD5BF-8449-0025-8A80-DDE84CE07B14}"/>
              </a:ext>
            </a:extLst>
          </p:cNvPr>
          <p:cNvSpPr>
            <a:spLocks noGrp="1"/>
          </p:cNvSpPr>
          <p:nvPr>
            <p:ph type="body" idx="36"/>
          </p:nvPr>
        </p:nvSpPr>
        <p:spPr>
          <a:xfrm>
            <a:off x="3398659" y="570789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0" name="name 6">
            <a:extLst>
              <a:ext uri="{FF2B5EF4-FFF2-40B4-BE49-F238E27FC236}">
                <a16:creationId xmlns:a16="http://schemas.microsoft.com/office/drawing/2014/main" id="{ACECDBA1-8A88-7944-D598-139FE427F701}"/>
              </a:ext>
            </a:extLst>
          </p:cNvPr>
          <p:cNvSpPr>
            <a:spLocks noGrp="1"/>
          </p:cNvSpPr>
          <p:nvPr>
            <p:ph type="body" idx="37"/>
          </p:nvPr>
        </p:nvSpPr>
        <p:spPr>
          <a:xfrm>
            <a:off x="3398659" y="5326097"/>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5" name="picture 6">
            <a:extLst>
              <a:ext uri="{FF2B5EF4-FFF2-40B4-BE49-F238E27FC236}">
                <a16:creationId xmlns:a16="http://schemas.microsoft.com/office/drawing/2014/main" id="{0E114193-8E73-4897-A653-36FD8C35AE58}"/>
              </a:ext>
            </a:extLst>
          </p:cNvPr>
          <p:cNvSpPr>
            <a:spLocks noGrp="1"/>
          </p:cNvSpPr>
          <p:nvPr>
            <p:ph type="pic" sz="quarter" idx="58"/>
          </p:nvPr>
        </p:nvSpPr>
        <p:spPr>
          <a:xfrm>
            <a:off x="3395907" y="3930913"/>
            <a:ext cx="2520000" cy="1260000"/>
          </a:xfrm>
          <a:prstGeom prst="round2SameRect">
            <a:avLst>
              <a:gd name="adj1" fmla="val 2241"/>
              <a:gd name="adj2" fmla="val 0"/>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dirty="0"/>
          </a:p>
        </p:txBody>
      </p:sp>
      <p:sp>
        <p:nvSpPr>
          <p:cNvPr id="48" name="shadow 5">
            <a:extLst>
              <a:ext uri="{FF2B5EF4-FFF2-40B4-BE49-F238E27FC236}">
                <a16:creationId xmlns:a16="http://schemas.microsoft.com/office/drawing/2014/main" id="{206FC9E8-4051-5E3E-9501-DF6293AB8474}"/>
              </a:ext>
            </a:extLst>
          </p:cNvPr>
          <p:cNvSpPr>
            <a:spLocks noGrp="1"/>
          </p:cNvSpPr>
          <p:nvPr>
            <p:ph type="body" idx="52" hasCustomPrompt="1"/>
          </p:nvPr>
        </p:nvSpPr>
        <p:spPr>
          <a:xfrm>
            <a:off x="535685" y="3933449"/>
            <a:ext cx="2520000" cy="2232000"/>
          </a:xfrm>
          <a:prstGeom prst="roundRect">
            <a:avLst>
              <a:gd name="adj" fmla="val 1408"/>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43" name="role 5">
            <a:extLst>
              <a:ext uri="{FF2B5EF4-FFF2-40B4-BE49-F238E27FC236}">
                <a16:creationId xmlns:a16="http://schemas.microsoft.com/office/drawing/2014/main" id="{D5C6B1F8-8A43-2891-A841-B8196814AE91}"/>
              </a:ext>
            </a:extLst>
          </p:cNvPr>
          <p:cNvSpPr>
            <a:spLocks noGrp="1"/>
          </p:cNvSpPr>
          <p:nvPr>
            <p:ph type="body" idx="39"/>
          </p:nvPr>
        </p:nvSpPr>
        <p:spPr>
          <a:xfrm>
            <a:off x="540000" y="570789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4" name="name 5">
            <a:extLst>
              <a:ext uri="{FF2B5EF4-FFF2-40B4-BE49-F238E27FC236}">
                <a16:creationId xmlns:a16="http://schemas.microsoft.com/office/drawing/2014/main" id="{C43C94EF-9938-02E0-25BA-5684E24AE185}"/>
              </a:ext>
            </a:extLst>
          </p:cNvPr>
          <p:cNvSpPr>
            <a:spLocks noGrp="1"/>
          </p:cNvSpPr>
          <p:nvPr>
            <p:ph type="body" idx="40"/>
          </p:nvPr>
        </p:nvSpPr>
        <p:spPr>
          <a:xfrm>
            <a:off x="540000" y="5326097"/>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6" name="picture 5">
            <a:extLst>
              <a:ext uri="{FF2B5EF4-FFF2-40B4-BE49-F238E27FC236}">
                <a16:creationId xmlns:a16="http://schemas.microsoft.com/office/drawing/2014/main" id="{6F786FDB-E1E7-1ACD-4A4E-08623F94889B}"/>
              </a:ext>
            </a:extLst>
          </p:cNvPr>
          <p:cNvSpPr>
            <a:spLocks noGrp="1"/>
          </p:cNvSpPr>
          <p:nvPr>
            <p:ph type="pic" sz="quarter" idx="59"/>
          </p:nvPr>
        </p:nvSpPr>
        <p:spPr>
          <a:xfrm>
            <a:off x="536825" y="3930913"/>
            <a:ext cx="2520000" cy="1260000"/>
          </a:xfrm>
          <a:prstGeom prst="round2SameRect">
            <a:avLst>
              <a:gd name="adj1" fmla="val 2241"/>
              <a:gd name="adj2" fmla="val 0"/>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dirty="0"/>
          </a:p>
        </p:txBody>
      </p:sp>
      <p:sp>
        <p:nvSpPr>
          <p:cNvPr id="5" name="shadow 4">
            <a:extLst>
              <a:ext uri="{FF2B5EF4-FFF2-40B4-BE49-F238E27FC236}">
                <a16:creationId xmlns:a16="http://schemas.microsoft.com/office/drawing/2014/main" id="{C37FBB49-C504-1527-FCF9-7857444DDD05}"/>
              </a:ext>
            </a:extLst>
          </p:cNvPr>
          <p:cNvSpPr>
            <a:spLocks noGrp="1"/>
          </p:cNvSpPr>
          <p:nvPr>
            <p:ph type="body" idx="45" hasCustomPrompt="1"/>
          </p:nvPr>
        </p:nvSpPr>
        <p:spPr>
          <a:xfrm>
            <a:off x="9114072" y="1475999"/>
            <a:ext cx="2520000" cy="2232000"/>
          </a:xfrm>
          <a:prstGeom prst="roundRect">
            <a:avLst>
              <a:gd name="adj" fmla="val 1408"/>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28" name="role 4">
            <a:extLst>
              <a:ext uri="{FF2B5EF4-FFF2-40B4-BE49-F238E27FC236}">
                <a16:creationId xmlns:a16="http://schemas.microsoft.com/office/drawing/2014/main" id="{1C2FB319-5890-BA63-6178-46B4E15CC6B5}"/>
              </a:ext>
            </a:extLst>
          </p:cNvPr>
          <p:cNvSpPr>
            <a:spLocks noGrp="1"/>
          </p:cNvSpPr>
          <p:nvPr>
            <p:ph type="body" idx="29"/>
          </p:nvPr>
        </p:nvSpPr>
        <p:spPr>
          <a:xfrm>
            <a:off x="9115977" y="323309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7" name="name 4">
            <a:extLst>
              <a:ext uri="{FF2B5EF4-FFF2-40B4-BE49-F238E27FC236}">
                <a16:creationId xmlns:a16="http://schemas.microsoft.com/office/drawing/2014/main" id="{0BF8F20A-36F1-9E35-92E4-4231E9BCA137}"/>
              </a:ext>
            </a:extLst>
          </p:cNvPr>
          <p:cNvSpPr>
            <a:spLocks noGrp="1"/>
          </p:cNvSpPr>
          <p:nvPr>
            <p:ph type="body" idx="28"/>
          </p:nvPr>
        </p:nvSpPr>
        <p:spPr>
          <a:xfrm>
            <a:off x="9115977" y="2859955"/>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2" name="picture 4">
            <a:extLst>
              <a:ext uri="{FF2B5EF4-FFF2-40B4-BE49-F238E27FC236}">
                <a16:creationId xmlns:a16="http://schemas.microsoft.com/office/drawing/2014/main" id="{8FB95CED-E691-EF01-3183-29E849E53CBF}"/>
              </a:ext>
            </a:extLst>
          </p:cNvPr>
          <p:cNvSpPr>
            <a:spLocks noGrp="1"/>
          </p:cNvSpPr>
          <p:nvPr>
            <p:ph type="pic" sz="quarter" idx="55"/>
          </p:nvPr>
        </p:nvSpPr>
        <p:spPr>
          <a:xfrm>
            <a:off x="9114072" y="1466475"/>
            <a:ext cx="2520000" cy="1260000"/>
          </a:xfrm>
          <a:prstGeom prst="round2SameRect">
            <a:avLst>
              <a:gd name="adj1" fmla="val 2241"/>
              <a:gd name="adj2" fmla="val 0"/>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dirty="0"/>
          </a:p>
        </p:txBody>
      </p:sp>
      <p:sp>
        <p:nvSpPr>
          <p:cNvPr id="8" name="shadow 3">
            <a:extLst>
              <a:ext uri="{FF2B5EF4-FFF2-40B4-BE49-F238E27FC236}">
                <a16:creationId xmlns:a16="http://schemas.microsoft.com/office/drawing/2014/main" id="{67F5FF9F-35C7-E899-B908-8C65E1D9A7CE}"/>
              </a:ext>
            </a:extLst>
          </p:cNvPr>
          <p:cNvSpPr>
            <a:spLocks noGrp="1"/>
          </p:cNvSpPr>
          <p:nvPr>
            <p:ph type="body" idx="46" hasCustomPrompt="1"/>
          </p:nvPr>
        </p:nvSpPr>
        <p:spPr>
          <a:xfrm>
            <a:off x="6254609" y="1475999"/>
            <a:ext cx="2520000" cy="2232000"/>
          </a:xfrm>
          <a:prstGeom prst="roundRect">
            <a:avLst>
              <a:gd name="adj" fmla="val 1408"/>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26" name="role 3">
            <a:extLst>
              <a:ext uri="{FF2B5EF4-FFF2-40B4-BE49-F238E27FC236}">
                <a16:creationId xmlns:a16="http://schemas.microsoft.com/office/drawing/2014/main" id="{B033DFCB-CBEB-03FF-0E21-D4A348D757BE}"/>
              </a:ext>
            </a:extLst>
          </p:cNvPr>
          <p:cNvSpPr>
            <a:spLocks noGrp="1"/>
          </p:cNvSpPr>
          <p:nvPr>
            <p:ph type="body" idx="27"/>
          </p:nvPr>
        </p:nvSpPr>
        <p:spPr>
          <a:xfrm>
            <a:off x="6257318" y="323309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5" name="name 3">
            <a:extLst>
              <a:ext uri="{FF2B5EF4-FFF2-40B4-BE49-F238E27FC236}">
                <a16:creationId xmlns:a16="http://schemas.microsoft.com/office/drawing/2014/main" id="{5340354E-C2CE-F1A0-1324-B12089FC1EF0}"/>
              </a:ext>
            </a:extLst>
          </p:cNvPr>
          <p:cNvSpPr>
            <a:spLocks noGrp="1"/>
          </p:cNvSpPr>
          <p:nvPr>
            <p:ph type="body" idx="26"/>
          </p:nvPr>
        </p:nvSpPr>
        <p:spPr>
          <a:xfrm>
            <a:off x="6257318" y="2859955"/>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1" name="picture 3">
            <a:extLst>
              <a:ext uri="{FF2B5EF4-FFF2-40B4-BE49-F238E27FC236}">
                <a16:creationId xmlns:a16="http://schemas.microsoft.com/office/drawing/2014/main" id="{189C04D2-384C-DB08-7CAC-6159B9814DA2}"/>
              </a:ext>
            </a:extLst>
          </p:cNvPr>
          <p:cNvSpPr>
            <a:spLocks noGrp="1"/>
          </p:cNvSpPr>
          <p:nvPr>
            <p:ph type="pic" sz="quarter" idx="54"/>
          </p:nvPr>
        </p:nvSpPr>
        <p:spPr>
          <a:xfrm>
            <a:off x="6254989" y="1466475"/>
            <a:ext cx="2520000" cy="1260000"/>
          </a:xfrm>
          <a:prstGeom prst="round2SameRect">
            <a:avLst>
              <a:gd name="adj1" fmla="val 2241"/>
              <a:gd name="adj2" fmla="val 0"/>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dirty="0"/>
          </a:p>
        </p:txBody>
      </p:sp>
      <p:sp>
        <p:nvSpPr>
          <p:cNvPr id="9" name="shadow 2">
            <a:extLst>
              <a:ext uri="{FF2B5EF4-FFF2-40B4-BE49-F238E27FC236}">
                <a16:creationId xmlns:a16="http://schemas.microsoft.com/office/drawing/2014/main" id="{0E1E2AB0-A082-BB6D-6FCB-7D13387F22E5}"/>
              </a:ext>
            </a:extLst>
          </p:cNvPr>
          <p:cNvSpPr>
            <a:spLocks noGrp="1"/>
          </p:cNvSpPr>
          <p:nvPr>
            <p:ph type="body" idx="47" hasCustomPrompt="1"/>
          </p:nvPr>
        </p:nvSpPr>
        <p:spPr>
          <a:xfrm>
            <a:off x="3395147" y="1475999"/>
            <a:ext cx="2520000" cy="2232000"/>
          </a:xfrm>
          <a:prstGeom prst="roundRect">
            <a:avLst>
              <a:gd name="adj" fmla="val 1408"/>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22" name="role 2">
            <a:extLst>
              <a:ext uri="{FF2B5EF4-FFF2-40B4-BE49-F238E27FC236}">
                <a16:creationId xmlns:a16="http://schemas.microsoft.com/office/drawing/2014/main" id="{6A83C635-5C0F-6FD4-9E16-8447B102CB65}"/>
              </a:ext>
            </a:extLst>
          </p:cNvPr>
          <p:cNvSpPr>
            <a:spLocks noGrp="1"/>
          </p:cNvSpPr>
          <p:nvPr>
            <p:ph type="body" idx="25"/>
          </p:nvPr>
        </p:nvSpPr>
        <p:spPr>
          <a:xfrm>
            <a:off x="3398659" y="323309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1" name="name 2">
            <a:extLst>
              <a:ext uri="{FF2B5EF4-FFF2-40B4-BE49-F238E27FC236}">
                <a16:creationId xmlns:a16="http://schemas.microsoft.com/office/drawing/2014/main" id="{C918C1F2-8374-4EF1-70F3-0489E4D2FDD9}"/>
              </a:ext>
            </a:extLst>
          </p:cNvPr>
          <p:cNvSpPr>
            <a:spLocks noGrp="1"/>
          </p:cNvSpPr>
          <p:nvPr>
            <p:ph type="body" idx="24"/>
          </p:nvPr>
        </p:nvSpPr>
        <p:spPr>
          <a:xfrm>
            <a:off x="3398659" y="2859955"/>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0" name="picture 2">
            <a:extLst>
              <a:ext uri="{FF2B5EF4-FFF2-40B4-BE49-F238E27FC236}">
                <a16:creationId xmlns:a16="http://schemas.microsoft.com/office/drawing/2014/main" id="{7ABAA453-41F6-B98E-4A46-C25B0129C76E}"/>
              </a:ext>
            </a:extLst>
          </p:cNvPr>
          <p:cNvSpPr>
            <a:spLocks noGrp="1"/>
          </p:cNvSpPr>
          <p:nvPr>
            <p:ph type="pic" sz="quarter" idx="53"/>
          </p:nvPr>
        </p:nvSpPr>
        <p:spPr>
          <a:xfrm>
            <a:off x="3395907" y="1466475"/>
            <a:ext cx="2520000" cy="1260000"/>
          </a:xfrm>
          <a:prstGeom prst="round2SameRect">
            <a:avLst>
              <a:gd name="adj1" fmla="val 2241"/>
              <a:gd name="adj2" fmla="val 0"/>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dirty="0"/>
          </a:p>
        </p:txBody>
      </p:sp>
      <p:sp>
        <p:nvSpPr>
          <p:cNvPr id="10" name="shadow 1">
            <a:extLst>
              <a:ext uri="{FF2B5EF4-FFF2-40B4-BE49-F238E27FC236}">
                <a16:creationId xmlns:a16="http://schemas.microsoft.com/office/drawing/2014/main" id="{0BF10A86-70B2-E1FC-7420-E2711F121092}"/>
              </a:ext>
            </a:extLst>
          </p:cNvPr>
          <p:cNvSpPr>
            <a:spLocks noGrp="1"/>
          </p:cNvSpPr>
          <p:nvPr>
            <p:ph type="body" idx="48" hasCustomPrompt="1"/>
          </p:nvPr>
        </p:nvSpPr>
        <p:spPr>
          <a:xfrm>
            <a:off x="535685" y="1475999"/>
            <a:ext cx="2520000" cy="2232000"/>
          </a:xfrm>
          <a:prstGeom prst="roundRect">
            <a:avLst>
              <a:gd name="adj" fmla="val 1408"/>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19" name="role 1">
            <a:extLst>
              <a:ext uri="{FF2B5EF4-FFF2-40B4-BE49-F238E27FC236}">
                <a16:creationId xmlns:a16="http://schemas.microsoft.com/office/drawing/2014/main" id="{90DF335A-A9AE-D9DB-0BAF-E0C176A8BD4F}"/>
              </a:ext>
            </a:extLst>
          </p:cNvPr>
          <p:cNvSpPr>
            <a:spLocks noGrp="1"/>
          </p:cNvSpPr>
          <p:nvPr>
            <p:ph type="body" idx="23"/>
          </p:nvPr>
        </p:nvSpPr>
        <p:spPr>
          <a:xfrm>
            <a:off x="540000" y="323309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8" name="name 1">
            <a:extLst>
              <a:ext uri="{FF2B5EF4-FFF2-40B4-BE49-F238E27FC236}">
                <a16:creationId xmlns:a16="http://schemas.microsoft.com/office/drawing/2014/main" id="{26D9C5D7-7E8C-31A1-71FF-876D8770D1B4}"/>
              </a:ext>
            </a:extLst>
          </p:cNvPr>
          <p:cNvSpPr>
            <a:spLocks noGrp="1"/>
          </p:cNvSpPr>
          <p:nvPr>
            <p:ph type="body" idx="1"/>
          </p:nvPr>
        </p:nvSpPr>
        <p:spPr>
          <a:xfrm>
            <a:off x="540000" y="2859955"/>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2" name="picture 1">
            <a:extLst>
              <a:ext uri="{FF2B5EF4-FFF2-40B4-BE49-F238E27FC236}">
                <a16:creationId xmlns:a16="http://schemas.microsoft.com/office/drawing/2014/main" id="{6D4F5E74-E4BC-26A1-6B3C-B5941695269D}"/>
              </a:ext>
            </a:extLst>
          </p:cNvPr>
          <p:cNvSpPr>
            <a:spLocks noGrp="1"/>
          </p:cNvSpPr>
          <p:nvPr>
            <p:ph type="pic" sz="quarter" idx="22"/>
          </p:nvPr>
        </p:nvSpPr>
        <p:spPr>
          <a:xfrm>
            <a:off x="536825" y="1466475"/>
            <a:ext cx="2520000" cy="1260000"/>
          </a:xfrm>
          <a:prstGeom prst="round2SameRect">
            <a:avLst>
              <a:gd name="adj1" fmla="val 2241"/>
              <a:gd name="adj2" fmla="val 0"/>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dirty="0"/>
          </a:p>
        </p:txBody>
      </p:sp>
      <p:sp>
        <p:nvSpPr>
          <p:cNvPr id="2" name="title">
            <a:extLst>
              <a:ext uri="{FF2B5EF4-FFF2-40B4-BE49-F238E27FC236}">
                <a16:creationId xmlns:a16="http://schemas.microsoft.com/office/drawing/2014/main" id="{F3754094-CFF9-5176-ADA0-C7C302BF1F77}"/>
              </a:ext>
            </a:extLst>
          </p:cNvPr>
          <p:cNvSpPr>
            <a:spLocks noGrp="1"/>
          </p:cNvSpPr>
          <p:nvPr>
            <p:ph type="title"/>
          </p:nvPr>
        </p:nvSpPr>
        <p:spPr/>
        <p:txBody>
          <a:bodyPr vert="horz"/>
          <a:lstStyle/>
          <a:p>
            <a:r>
              <a:rPr lang="de-DE"/>
              <a:t>Mastertitelformat bearbeiten</a:t>
            </a:r>
            <a:endParaRPr lang="en-US"/>
          </a:p>
        </p:txBody>
      </p:sp>
      <p:sp>
        <p:nvSpPr>
          <p:cNvPr id="6" name="navigation">
            <a:extLst>
              <a:ext uri="{FF2B5EF4-FFF2-40B4-BE49-F238E27FC236}">
                <a16:creationId xmlns:a16="http://schemas.microsoft.com/office/drawing/2014/main" id="{75F76F83-6FC3-B42E-212E-DBFA812FBDE4}"/>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942925067"/>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   049 : team : 10 pictures : 10 names and roles">
    <p:spTree>
      <p:nvGrpSpPr>
        <p:cNvPr id="1" name=""/>
        <p:cNvGrpSpPr/>
        <p:nvPr/>
      </p:nvGrpSpPr>
      <p:grpSpPr>
        <a:xfrm>
          <a:off x="0" y="0"/>
          <a:ext cx="0" cy="0"/>
          <a:chOff x="0" y="0"/>
          <a:chExt cx="0" cy="0"/>
        </a:xfrm>
      </p:grpSpPr>
      <p:sp>
        <p:nvSpPr>
          <p:cNvPr id="10" name="slide number">
            <a:extLst>
              <a:ext uri="{FF2B5EF4-FFF2-40B4-BE49-F238E27FC236}">
                <a16:creationId xmlns:a16="http://schemas.microsoft.com/office/drawing/2014/main" id="{806DED45-4BC7-C6F5-F26F-6CD59EA5B6A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B32839BA-2D56-A01B-FE5C-F161B633535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9" name="date">
            <a:extLst>
              <a:ext uri="{FF2B5EF4-FFF2-40B4-BE49-F238E27FC236}">
                <a16:creationId xmlns:a16="http://schemas.microsoft.com/office/drawing/2014/main" id="{50109232-4643-9278-B176-335653E00909}"/>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45" name="subhead 10">
            <a:extLst>
              <a:ext uri="{FF2B5EF4-FFF2-40B4-BE49-F238E27FC236}">
                <a16:creationId xmlns:a16="http://schemas.microsoft.com/office/drawing/2014/main" id="{8957E92F-7A0C-9DA0-B1B4-1D48E0407229}"/>
              </a:ext>
            </a:extLst>
          </p:cNvPr>
          <p:cNvSpPr>
            <a:spLocks noGrp="1"/>
          </p:cNvSpPr>
          <p:nvPr>
            <p:ph type="body" idx="44"/>
          </p:nvPr>
        </p:nvSpPr>
        <p:spPr>
          <a:xfrm>
            <a:off x="9646450" y="3866790"/>
            <a:ext cx="1980000" cy="2340000"/>
          </a:xfrm>
          <a:prstGeom prst="roundRect">
            <a:avLst>
              <a:gd name="adj" fmla="val 503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sz="1000"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69" name="name 10">
            <a:extLst>
              <a:ext uri="{FF2B5EF4-FFF2-40B4-BE49-F238E27FC236}">
                <a16:creationId xmlns:a16="http://schemas.microsoft.com/office/drawing/2014/main" id="{27047879-F9F7-2872-9C2E-F1F200F924F8}"/>
              </a:ext>
            </a:extLst>
          </p:cNvPr>
          <p:cNvSpPr>
            <a:spLocks noGrp="1"/>
          </p:cNvSpPr>
          <p:nvPr>
            <p:ph type="body" idx="66"/>
          </p:nvPr>
        </p:nvSpPr>
        <p:spPr>
          <a:xfrm>
            <a:off x="9648388" y="5677081"/>
            <a:ext cx="1979612" cy="504013"/>
          </a:xfrm>
        </p:spPr>
        <p:txBody>
          <a:bodyPr lIns="72000" tIns="36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7" name="picture 10">
            <a:extLst>
              <a:ext uri="{FF2B5EF4-FFF2-40B4-BE49-F238E27FC236}">
                <a16:creationId xmlns:a16="http://schemas.microsoft.com/office/drawing/2014/main" id="{EC18869E-E982-5D79-087B-724D004A747E}"/>
              </a:ext>
            </a:extLst>
          </p:cNvPr>
          <p:cNvSpPr>
            <a:spLocks noGrp="1"/>
          </p:cNvSpPr>
          <p:nvPr>
            <p:ph type="pic" sz="quarter" idx="46"/>
          </p:nvPr>
        </p:nvSpPr>
        <p:spPr>
          <a:xfrm>
            <a:off x="9648000" y="3866790"/>
            <a:ext cx="1980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48" name="subhead 9">
            <a:extLst>
              <a:ext uri="{FF2B5EF4-FFF2-40B4-BE49-F238E27FC236}">
                <a16:creationId xmlns:a16="http://schemas.microsoft.com/office/drawing/2014/main" id="{65E03170-F9E5-1619-0F10-4D068D8BD7E2}"/>
              </a:ext>
            </a:extLst>
          </p:cNvPr>
          <p:cNvSpPr>
            <a:spLocks noGrp="1"/>
          </p:cNvSpPr>
          <p:nvPr>
            <p:ph type="body" idx="47"/>
          </p:nvPr>
        </p:nvSpPr>
        <p:spPr>
          <a:xfrm>
            <a:off x="7371000" y="3866790"/>
            <a:ext cx="1980000" cy="2340000"/>
          </a:xfrm>
          <a:prstGeom prst="roundRect">
            <a:avLst>
              <a:gd name="adj" fmla="val 503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68" name="name 9">
            <a:extLst>
              <a:ext uri="{FF2B5EF4-FFF2-40B4-BE49-F238E27FC236}">
                <a16:creationId xmlns:a16="http://schemas.microsoft.com/office/drawing/2014/main" id="{90130C27-71B2-C794-5113-2FA38F78A43E}"/>
              </a:ext>
            </a:extLst>
          </p:cNvPr>
          <p:cNvSpPr>
            <a:spLocks noGrp="1"/>
          </p:cNvSpPr>
          <p:nvPr>
            <p:ph type="body" idx="65"/>
          </p:nvPr>
        </p:nvSpPr>
        <p:spPr>
          <a:xfrm>
            <a:off x="7371291" y="5677081"/>
            <a:ext cx="1979612" cy="504013"/>
          </a:xfrm>
        </p:spPr>
        <p:txBody>
          <a:bodyPr lIns="72000" tIns="36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1" name="picture 9">
            <a:extLst>
              <a:ext uri="{FF2B5EF4-FFF2-40B4-BE49-F238E27FC236}">
                <a16:creationId xmlns:a16="http://schemas.microsoft.com/office/drawing/2014/main" id="{F943581A-6A0C-2A69-8023-6EA401B1F863}"/>
              </a:ext>
            </a:extLst>
          </p:cNvPr>
          <p:cNvSpPr>
            <a:spLocks noGrp="1"/>
          </p:cNvSpPr>
          <p:nvPr>
            <p:ph type="pic" sz="quarter" idx="49"/>
          </p:nvPr>
        </p:nvSpPr>
        <p:spPr>
          <a:xfrm>
            <a:off x="7371000" y="3866790"/>
            <a:ext cx="1980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44" name="subhead 8">
            <a:extLst>
              <a:ext uri="{FF2B5EF4-FFF2-40B4-BE49-F238E27FC236}">
                <a16:creationId xmlns:a16="http://schemas.microsoft.com/office/drawing/2014/main" id="{10F2B6D7-27A0-BDC4-C4E9-ED5BFFC6DD20}"/>
              </a:ext>
            </a:extLst>
          </p:cNvPr>
          <p:cNvSpPr>
            <a:spLocks noGrp="1"/>
          </p:cNvSpPr>
          <p:nvPr>
            <p:ph type="body" idx="43"/>
          </p:nvPr>
        </p:nvSpPr>
        <p:spPr>
          <a:xfrm>
            <a:off x="5094000" y="3866790"/>
            <a:ext cx="1980000" cy="2340000"/>
          </a:xfrm>
          <a:prstGeom prst="roundRect">
            <a:avLst>
              <a:gd name="adj" fmla="val 503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67" name="name 8">
            <a:extLst>
              <a:ext uri="{FF2B5EF4-FFF2-40B4-BE49-F238E27FC236}">
                <a16:creationId xmlns:a16="http://schemas.microsoft.com/office/drawing/2014/main" id="{A20CF480-6BF1-87A3-3003-EE02D6AFB122}"/>
              </a:ext>
            </a:extLst>
          </p:cNvPr>
          <p:cNvSpPr>
            <a:spLocks noGrp="1"/>
          </p:cNvSpPr>
          <p:nvPr>
            <p:ph type="body" idx="64"/>
          </p:nvPr>
        </p:nvSpPr>
        <p:spPr>
          <a:xfrm>
            <a:off x="5094194" y="5677081"/>
            <a:ext cx="1979612" cy="504013"/>
          </a:xfrm>
        </p:spPr>
        <p:txBody>
          <a:bodyPr lIns="72000" tIns="36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3" name="picture 8">
            <a:extLst>
              <a:ext uri="{FF2B5EF4-FFF2-40B4-BE49-F238E27FC236}">
                <a16:creationId xmlns:a16="http://schemas.microsoft.com/office/drawing/2014/main" id="{F6FBD914-B2F5-C584-28FA-647A394B21FA}"/>
              </a:ext>
            </a:extLst>
          </p:cNvPr>
          <p:cNvSpPr>
            <a:spLocks noGrp="1"/>
          </p:cNvSpPr>
          <p:nvPr>
            <p:ph type="pic" sz="quarter" idx="51"/>
          </p:nvPr>
        </p:nvSpPr>
        <p:spPr>
          <a:xfrm>
            <a:off x="5094000" y="3866790"/>
            <a:ext cx="1980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54" name="subhead 7">
            <a:extLst>
              <a:ext uri="{FF2B5EF4-FFF2-40B4-BE49-F238E27FC236}">
                <a16:creationId xmlns:a16="http://schemas.microsoft.com/office/drawing/2014/main" id="{6EB985DA-AEA0-4EF0-1956-1FBE342133AF}"/>
              </a:ext>
            </a:extLst>
          </p:cNvPr>
          <p:cNvSpPr>
            <a:spLocks noGrp="1"/>
          </p:cNvSpPr>
          <p:nvPr>
            <p:ph type="body" idx="52"/>
          </p:nvPr>
        </p:nvSpPr>
        <p:spPr>
          <a:xfrm>
            <a:off x="2815837" y="3866790"/>
            <a:ext cx="1980000" cy="2340000"/>
          </a:xfrm>
          <a:prstGeom prst="roundRect">
            <a:avLst>
              <a:gd name="adj" fmla="val 699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66" name="name 7">
            <a:extLst>
              <a:ext uri="{FF2B5EF4-FFF2-40B4-BE49-F238E27FC236}">
                <a16:creationId xmlns:a16="http://schemas.microsoft.com/office/drawing/2014/main" id="{877EBBC0-DE1D-67E8-6883-6E9EB7DE2991}"/>
              </a:ext>
            </a:extLst>
          </p:cNvPr>
          <p:cNvSpPr>
            <a:spLocks noGrp="1"/>
          </p:cNvSpPr>
          <p:nvPr>
            <p:ph type="body" idx="63"/>
          </p:nvPr>
        </p:nvSpPr>
        <p:spPr>
          <a:xfrm>
            <a:off x="2817097" y="5677081"/>
            <a:ext cx="1979612" cy="504013"/>
          </a:xfrm>
        </p:spPr>
        <p:txBody>
          <a:bodyPr lIns="72000" tIns="36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6" name="picture 7">
            <a:extLst>
              <a:ext uri="{FF2B5EF4-FFF2-40B4-BE49-F238E27FC236}">
                <a16:creationId xmlns:a16="http://schemas.microsoft.com/office/drawing/2014/main" id="{EE7F0AB1-E05B-05AF-441F-57143F9E8307}"/>
              </a:ext>
            </a:extLst>
          </p:cNvPr>
          <p:cNvSpPr>
            <a:spLocks noGrp="1"/>
          </p:cNvSpPr>
          <p:nvPr>
            <p:ph type="pic" sz="quarter" idx="54"/>
          </p:nvPr>
        </p:nvSpPr>
        <p:spPr>
          <a:xfrm>
            <a:off x="2817000" y="3866790"/>
            <a:ext cx="1980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57" name="subhead 6">
            <a:extLst>
              <a:ext uri="{FF2B5EF4-FFF2-40B4-BE49-F238E27FC236}">
                <a16:creationId xmlns:a16="http://schemas.microsoft.com/office/drawing/2014/main" id="{7A6C631D-2249-4968-A022-EE350F875421}"/>
              </a:ext>
            </a:extLst>
          </p:cNvPr>
          <p:cNvSpPr>
            <a:spLocks noGrp="1"/>
          </p:cNvSpPr>
          <p:nvPr>
            <p:ph type="body" idx="55"/>
          </p:nvPr>
        </p:nvSpPr>
        <p:spPr>
          <a:xfrm>
            <a:off x="540000" y="3866790"/>
            <a:ext cx="1980000" cy="2340000"/>
          </a:xfrm>
          <a:prstGeom prst="roundRect">
            <a:avLst>
              <a:gd name="adj" fmla="val 5284"/>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65" name="name 6">
            <a:extLst>
              <a:ext uri="{FF2B5EF4-FFF2-40B4-BE49-F238E27FC236}">
                <a16:creationId xmlns:a16="http://schemas.microsoft.com/office/drawing/2014/main" id="{A5E7A693-8355-9728-17E9-8AEBA527FE40}"/>
              </a:ext>
            </a:extLst>
          </p:cNvPr>
          <p:cNvSpPr>
            <a:spLocks noGrp="1"/>
          </p:cNvSpPr>
          <p:nvPr>
            <p:ph type="body" idx="62"/>
          </p:nvPr>
        </p:nvSpPr>
        <p:spPr>
          <a:xfrm>
            <a:off x="540000" y="5677081"/>
            <a:ext cx="1979612" cy="504013"/>
          </a:xfrm>
        </p:spPr>
        <p:txBody>
          <a:bodyPr lIns="72000" tIns="36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9" name="picture 6">
            <a:extLst>
              <a:ext uri="{FF2B5EF4-FFF2-40B4-BE49-F238E27FC236}">
                <a16:creationId xmlns:a16="http://schemas.microsoft.com/office/drawing/2014/main" id="{1E31FE22-7ACE-8653-7688-4621FE8720EF}"/>
              </a:ext>
            </a:extLst>
          </p:cNvPr>
          <p:cNvSpPr>
            <a:spLocks noGrp="1"/>
          </p:cNvSpPr>
          <p:nvPr>
            <p:ph type="pic" sz="quarter" idx="57"/>
          </p:nvPr>
        </p:nvSpPr>
        <p:spPr>
          <a:xfrm>
            <a:off x="540000" y="3866790"/>
            <a:ext cx="1980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6" name="subhead 5">
            <a:extLst>
              <a:ext uri="{FF2B5EF4-FFF2-40B4-BE49-F238E27FC236}">
                <a16:creationId xmlns:a16="http://schemas.microsoft.com/office/drawing/2014/main" id="{4E1C1AAF-A0BE-06A6-F614-641D5BEB518A}"/>
              </a:ext>
            </a:extLst>
          </p:cNvPr>
          <p:cNvSpPr>
            <a:spLocks noGrp="1"/>
          </p:cNvSpPr>
          <p:nvPr>
            <p:ph type="body" idx="30"/>
          </p:nvPr>
        </p:nvSpPr>
        <p:spPr>
          <a:xfrm>
            <a:off x="9646450" y="1483651"/>
            <a:ext cx="1980000" cy="2340000"/>
          </a:xfrm>
          <a:prstGeom prst="roundRect">
            <a:avLst>
              <a:gd name="adj" fmla="val 503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sz="1000"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64" name="name 5">
            <a:extLst>
              <a:ext uri="{FF2B5EF4-FFF2-40B4-BE49-F238E27FC236}">
                <a16:creationId xmlns:a16="http://schemas.microsoft.com/office/drawing/2014/main" id="{8D880576-E0C2-6015-6EC0-DF01178B1324}"/>
              </a:ext>
            </a:extLst>
          </p:cNvPr>
          <p:cNvSpPr>
            <a:spLocks noGrp="1"/>
          </p:cNvSpPr>
          <p:nvPr>
            <p:ph type="body" idx="61"/>
          </p:nvPr>
        </p:nvSpPr>
        <p:spPr>
          <a:xfrm>
            <a:off x="9648388" y="3294606"/>
            <a:ext cx="1979612" cy="504013"/>
          </a:xfrm>
        </p:spPr>
        <p:txBody>
          <a:bodyPr lIns="72000" tIns="36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9" name="picture 5">
            <a:extLst>
              <a:ext uri="{FF2B5EF4-FFF2-40B4-BE49-F238E27FC236}">
                <a16:creationId xmlns:a16="http://schemas.microsoft.com/office/drawing/2014/main" id="{A8AC1CB6-247B-124F-1A7A-0B5624FB892A}"/>
              </a:ext>
            </a:extLst>
          </p:cNvPr>
          <p:cNvSpPr>
            <a:spLocks noGrp="1"/>
          </p:cNvSpPr>
          <p:nvPr>
            <p:ph type="pic" sz="quarter" idx="32"/>
          </p:nvPr>
        </p:nvSpPr>
        <p:spPr>
          <a:xfrm>
            <a:off x="9648000" y="1483651"/>
            <a:ext cx="1980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2" name="subhead 4">
            <a:extLst>
              <a:ext uri="{FF2B5EF4-FFF2-40B4-BE49-F238E27FC236}">
                <a16:creationId xmlns:a16="http://schemas.microsoft.com/office/drawing/2014/main" id="{2E60EAAC-E319-6243-2FAB-917688217B61}"/>
              </a:ext>
            </a:extLst>
          </p:cNvPr>
          <p:cNvSpPr>
            <a:spLocks noGrp="1"/>
          </p:cNvSpPr>
          <p:nvPr>
            <p:ph type="body" idx="27"/>
          </p:nvPr>
        </p:nvSpPr>
        <p:spPr>
          <a:xfrm>
            <a:off x="7371000" y="1483651"/>
            <a:ext cx="1980000" cy="2340000"/>
          </a:xfrm>
          <a:prstGeom prst="roundRect">
            <a:avLst>
              <a:gd name="adj" fmla="val 503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63" name="name 4">
            <a:extLst>
              <a:ext uri="{FF2B5EF4-FFF2-40B4-BE49-F238E27FC236}">
                <a16:creationId xmlns:a16="http://schemas.microsoft.com/office/drawing/2014/main" id="{DD7FEC98-C027-572D-9B71-102932BE5825}"/>
              </a:ext>
            </a:extLst>
          </p:cNvPr>
          <p:cNvSpPr>
            <a:spLocks noGrp="1"/>
          </p:cNvSpPr>
          <p:nvPr>
            <p:ph type="body" idx="60"/>
          </p:nvPr>
        </p:nvSpPr>
        <p:spPr>
          <a:xfrm>
            <a:off x="7371291" y="3294606"/>
            <a:ext cx="1979612" cy="504013"/>
          </a:xfrm>
        </p:spPr>
        <p:txBody>
          <a:bodyPr lIns="72000" tIns="36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 name="picture 4">
            <a:extLst>
              <a:ext uri="{FF2B5EF4-FFF2-40B4-BE49-F238E27FC236}">
                <a16:creationId xmlns:a16="http://schemas.microsoft.com/office/drawing/2014/main" id="{ED5FC855-3CBD-1480-193E-6226E97D0A53}"/>
              </a:ext>
            </a:extLst>
          </p:cNvPr>
          <p:cNvSpPr>
            <a:spLocks noGrp="1"/>
          </p:cNvSpPr>
          <p:nvPr>
            <p:ph type="pic" sz="quarter" idx="29"/>
          </p:nvPr>
        </p:nvSpPr>
        <p:spPr>
          <a:xfrm>
            <a:off x="7371000" y="1483651"/>
            <a:ext cx="1980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93" name="subhead 3">
            <a:extLst>
              <a:ext uri="{FF2B5EF4-FFF2-40B4-BE49-F238E27FC236}">
                <a16:creationId xmlns:a16="http://schemas.microsoft.com/office/drawing/2014/main" id="{A621FD8A-0372-D7B0-7589-D502248B5856}"/>
              </a:ext>
            </a:extLst>
          </p:cNvPr>
          <p:cNvSpPr>
            <a:spLocks noGrp="1"/>
          </p:cNvSpPr>
          <p:nvPr>
            <p:ph type="body" idx="18"/>
          </p:nvPr>
        </p:nvSpPr>
        <p:spPr>
          <a:xfrm>
            <a:off x="5094000" y="1483651"/>
            <a:ext cx="1980000" cy="2340000"/>
          </a:xfrm>
          <a:prstGeom prst="roundRect">
            <a:avLst>
              <a:gd name="adj" fmla="val 503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62" name="name 3">
            <a:extLst>
              <a:ext uri="{FF2B5EF4-FFF2-40B4-BE49-F238E27FC236}">
                <a16:creationId xmlns:a16="http://schemas.microsoft.com/office/drawing/2014/main" id="{A9922C48-F985-61DE-ECCB-E80F2226FD0D}"/>
              </a:ext>
            </a:extLst>
          </p:cNvPr>
          <p:cNvSpPr>
            <a:spLocks noGrp="1"/>
          </p:cNvSpPr>
          <p:nvPr>
            <p:ph type="body" idx="59"/>
          </p:nvPr>
        </p:nvSpPr>
        <p:spPr>
          <a:xfrm>
            <a:off x="5094194" y="3294606"/>
            <a:ext cx="1979612" cy="504013"/>
          </a:xfrm>
        </p:spPr>
        <p:txBody>
          <a:bodyPr lIns="72000" tIns="36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4" name="picture 3">
            <a:extLst>
              <a:ext uri="{FF2B5EF4-FFF2-40B4-BE49-F238E27FC236}">
                <a16:creationId xmlns:a16="http://schemas.microsoft.com/office/drawing/2014/main" id="{9FF70640-2E25-EBCF-C164-4D8776EDCC0B}"/>
              </a:ext>
            </a:extLst>
          </p:cNvPr>
          <p:cNvSpPr>
            <a:spLocks noGrp="1"/>
          </p:cNvSpPr>
          <p:nvPr>
            <p:ph type="pic" sz="quarter" idx="23"/>
          </p:nvPr>
        </p:nvSpPr>
        <p:spPr>
          <a:xfrm>
            <a:off x="5094000" y="1483651"/>
            <a:ext cx="1980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92" name="subhead 2">
            <a:extLst>
              <a:ext uri="{FF2B5EF4-FFF2-40B4-BE49-F238E27FC236}">
                <a16:creationId xmlns:a16="http://schemas.microsoft.com/office/drawing/2014/main" id="{0C79B4B6-AEFC-E24C-2B7C-4FE3BD9C9C77}"/>
              </a:ext>
            </a:extLst>
          </p:cNvPr>
          <p:cNvSpPr>
            <a:spLocks noGrp="1"/>
          </p:cNvSpPr>
          <p:nvPr>
            <p:ph type="body" idx="17"/>
          </p:nvPr>
        </p:nvSpPr>
        <p:spPr>
          <a:xfrm>
            <a:off x="2815837" y="1483651"/>
            <a:ext cx="1980000" cy="2340000"/>
          </a:xfrm>
          <a:prstGeom prst="roundRect">
            <a:avLst>
              <a:gd name="adj" fmla="val 699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61" name="name 2">
            <a:extLst>
              <a:ext uri="{FF2B5EF4-FFF2-40B4-BE49-F238E27FC236}">
                <a16:creationId xmlns:a16="http://schemas.microsoft.com/office/drawing/2014/main" id="{245389A0-0095-72A6-79F8-CE5EFAFAC5AA}"/>
              </a:ext>
            </a:extLst>
          </p:cNvPr>
          <p:cNvSpPr>
            <a:spLocks noGrp="1"/>
          </p:cNvSpPr>
          <p:nvPr>
            <p:ph type="body" idx="58"/>
          </p:nvPr>
        </p:nvSpPr>
        <p:spPr>
          <a:xfrm>
            <a:off x="2817097" y="3294606"/>
            <a:ext cx="1979612" cy="504013"/>
          </a:xfrm>
        </p:spPr>
        <p:txBody>
          <a:bodyPr lIns="72000" tIns="36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3" name="picture 2">
            <a:extLst>
              <a:ext uri="{FF2B5EF4-FFF2-40B4-BE49-F238E27FC236}">
                <a16:creationId xmlns:a16="http://schemas.microsoft.com/office/drawing/2014/main" id="{55B5AD6C-F5DC-9656-D99B-A67A0B7E5052}"/>
              </a:ext>
            </a:extLst>
          </p:cNvPr>
          <p:cNvSpPr>
            <a:spLocks noGrp="1"/>
          </p:cNvSpPr>
          <p:nvPr>
            <p:ph type="pic" sz="quarter" idx="22"/>
          </p:nvPr>
        </p:nvSpPr>
        <p:spPr>
          <a:xfrm>
            <a:off x="2817000" y="1483651"/>
            <a:ext cx="1980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49" name="subhead 1">
            <a:extLst>
              <a:ext uri="{FF2B5EF4-FFF2-40B4-BE49-F238E27FC236}">
                <a16:creationId xmlns:a16="http://schemas.microsoft.com/office/drawing/2014/main" id="{0FE4903D-F047-A069-A010-0199438C5A44}"/>
              </a:ext>
            </a:extLst>
          </p:cNvPr>
          <p:cNvSpPr>
            <a:spLocks noGrp="1"/>
          </p:cNvSpPr>
          <p:nvPr>
            <p:ph type="body" idx="1"/>
          </p:nvPr>
        </p:nvSpPr>
        <p:spPr>
          <a:xfrm>
            <a:off x="540000" y="1483651"/>
            <a:ext cx="1980000" cy="2340000"/>
          </a:xfrm>
          <a:prstGeom prst="roundRect">
            <a:avLst>
              <a:gd name="adj" fmla="val 5284"/>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21" name="name 1">
            <a:extLst>
              <a:ext uri="{FF2B5EF4-FFF2-40B4-BE49-F238E27FC236}">
                <a16:creationId xmlns:a16="http://schemas.microsoft.com/office/drawing/2014/main" id="{8A8BFD5B-C976-835F-A757-EE0BFB168A29}"/>
              </a:ext>
            </a:extLst>
          </p:cNvPr>
          <p:cNvSpPr>
            <a:spLocks noGrp="1"/>
          </p:cNvSpPr>
          <p:nvPr>
            <p:ph type="body" idx="34"/>
          </p:nvPr>
        </p:nvSpPr>
        <p:spPr>
          <a:xfrm>
            <a:off x="540000" y="3294606"/>
            <a:ext cx="1979612" cy="504013"/>
          </a:xfrm>
        </p:spPr>
        <p:txBody>
          <a:bodyPr lIns="72000" tIns="36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1" name="picture 1">
            <a:extLst>
              <a:ext uri="{FF2B5EF4-FFF2-40B4-BE49-F238E27FC236}">
                <a16:creationId xmlns:a16="http://schemas.microsoft.com/office/drawing/2014/main" id="{48BC97E5-F4FC-CFC7-7C93-504C59D7A2BF}"/>
              </a:ext>
            </a:extLst>
          </p:cNvPr>
          <p:cNvSpPr>
            <a:spLocks noGrp="1"/>
          </p:cNvSpPr>
          <p:nvPr>
            <p:ph type="pic" sz="quarter" idx="21"/>
          </p:nvPr>
        </p:nvSpPr>
        <p:spPr>
          <a:xfrm>
            <a:off x="540000" y="1483651"/>
            <a:ext cx="1980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86" name="title">
            <a:extLst>
              <a:ext uri="{FF2B5EF4-FFF2-40B4-BE49-F238E27FC236}">
                <a16:creationId xmlns:a16="http://schemas.microsoft.com/office/drawing/2014/main" id="{457734AF-380A-E58A-7517-29028ECFA967}"/>
              </a:ext>
            </a:extLst>
          </p:cNvPr>
          <p:cNvSpPr>
            <a:spLocks noGrp="1"/>
          </p:cNvSpPr>
          <p:nvPr>
            <p:ph type="title"/>
          </p:nvPr>
        </p:nvSpPr>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3CCF9C9E-CC68-9C72-1637-DC78701B6BD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845512212"/>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   049 : team : 20 pictures : 20 names and roles">
    <p:spTree>
      <p:nvGrpSpPr>
        <p:cNvPr id="1" name=""/>
        <p:cNvGrpSpPr/>
        <p:nvPr/>
      </p:nvGrpSpPr>
      <p:grpSpPr>
        <a:xfrm>
          <a:off x="0" y="0"/>
          <a:ext cx="0" cy="0"/>
          <a:chOff x="0" y="0"/>
          <a:chExt cx="0" cy="0"/>
        </a:xfrm>
      </p:grpSpPr>
      <p:sp>
        <p:nvSpPr>
          <p:cNvPr id="10" name="slide number">
            <a:extLst>
              <a:ext uri="{FF2B5EF4-FFF2-40B4-BE49-F238E27FC236}">
                <a16:creationId xmlns:a16="http://schemas.microsoft.com/office/drawing/2014/main" id="{806DED45-4BC7-C6F5-F26F-6CD59EA5B6A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B32839BA-2D56-A01B-FE5C-F161B633535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9" name="date">
            <a:extLst>
              <a:ext uri="{FF2B5EF4-FFF2-40B4-BE49-F238E27FC236}">
                <a16:creationId xmlns:a16="http://schemas.microsoft.com/office/drawing/2014/main" id="{50109232-4643-9278-B176-335653E00909}"/>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64" name="shadow 5.1">
            <a:extLst>
              <a:ext uri="{FF2B5EF4-FFF2-40B4-BE49-F238E27FC236}">
                <a16:creationId xmlns:a16="http://schemas.microsoft.com/office/drawing/2014/main" id="{36EF2D9D-2C86-FDE0-B1D7-8A5721A0CEC9}"/>
              </a:ext>
            </a:extLst>
          </p:cNvPr>
          <p:cNvSpPr>
            <a:spLocks noGrp="1"/>
          </p:cNvSpPr>
          <p:nvPr>
            <p:ph type="body" idx="121" hasCustomPrompt="1"/>
          </p:nvPr>
        </p:nvSpPr>
        <p:spPr>
          <a:xfrm>
            <a:off x="9468000" y="1991516"/>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49" name="name 5.1">
            <a:extLst>
              <a:ext uri="{FF2B5EF4-FFF2-40B4-BE49-F238E27FC236}">
                <a16:creationId xmlns:a16="http://schemas.microsoft.com/office/drawing/2014/main" id="{E41294CD-81C9-D373-11F8-33728157FB27}"/>
              </a:ext>
            </a:extLst>
          </p:cNvPr>
          <p:cNvSpPr>
            <a:spLocks noGrp="1"/>
          </p:cNvSpPr>
          <p:nvPr>
            <p:ph type="body" idx="93"/>
          </p:nvPr>
        </p:nvSpPr>
        <p:spPr>
          <a:xfrm>
            <a:off x="10440000" y="1989138"/>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0" name="picture 5.1">
            <a:extLst>
              <a:ext uri="{FF2B5EF4-FFF2-40B4-BE49-F238E27FC236}">
                <a16:creationId xmlns:a16="http://schemas.microsoft.com/office/drawing/2014/main" id="{B57E4E78-9DC3-3F77-A9D0-F7E8D9641AED}"/>
              </a:ext>
            </a:extLst>
          </p:cNvPr>
          <p:cNvSpPr>
            <a:spLocks noGrp="1"/>
          </p:cNvSpPr>
          <p:nvPr>
            <p:ph type="pic" sz="quarter" idx="94"/>
          </p:nvPr>
        </p:nvSpPr>
        <p:spPr>
          <a:xfrm>
            <a:off x="9468000" y="1989138"/>
            <a:ext cx="900000" cy="9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66" name="shadow 5.2">
            <a:extLst>
              <a:ext uri="{FF2B5EF4-FFF2-40B4-BE49-F238E27FC236}">
                <a16:creationId xmlns:a16="http://schemas.microsoft.com/office/drawing/2014/main" id="{6081E31E-D3AC-AE42-7D45-83551BFF37A7}"/>
              </a:ext>
            </a:extLst>
          </p:cNvPr>
          <p:cNvSpPr>
            <a:spLocks noGrp="1"/>
          </p:cNvSpPr>
          <p:nvPr>
            <p:ph type="body" idx="122" hasCustomPrompt="1"/>
          </p:nvPr>
        </p:nvSpPr>
        <p:spPr>
          <a:xfrm>
            <a:off x="9468000" y="3082960"/>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52" name="name 5.2">
            <a:extLst>
              <a:ext uri="{FF2B5EF4-FFF2-40B4-BE49-F238E27FC236}">
                <a16:creationId xmlns:a16="http://schemas.microsoft.com/office/drawing/2014/main" id="{4E134554-E3F4-1271-A235-DBC740B902C7}"/>
              </a:ext>
            </a:extLst>
          </p:cNvPr>
          <p:cNvSpPr>
            <a:spLocks noGrp="1"/>
          </p:cNvSpPr>
          <p:nvPr>
            <p:ph type="body" idx="95"/>
          </p:nvPr>
        </p:nvSpPr>
        <p:spPr>
          <a:xfrm>
            <a:off x="10440000" y="3081375"/>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5" name="picture 5.2">
            <a:extLst>
              <a:ext uri="{FF2B5EF4-FFF2-40B4-BE49-F238E27FC236}">
                <a16:creationId xmlns:a16="http://schemas.microsoft.com/office/drawing/2014/main" id="{C9FB66CC-A91B-47D0-D455-732C234339BA}"/>
              </a:ext>
            </a:extLst>
          </p:cNvPr>
          <p:cNvSpPr>
            <a:spLocks noGrp="1"/>
          </p:cNvSpPr>
          <p:nvPr>
            <p:ph type="pic" sz="quarter" idx="96"/>
          </p:nvPr>
        </p:nvSpPr>
        <p:spPr>
          <a:xfrm>
            <a:off x="9468000" y="3081375"/>
            <a:ext cx="900000" cy="9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67" name="shadow 5.3">
            <a:extLst>
              <a:ext uri="{FF2B5EF4-FFF2-40B4-BE49-F238E27FC236}">
                <a16:creationId xmlns:a16="http://schemas.microsoft.com/office/drawing/2014/main" id="{DFB28E93-581E-6AAA-4C38-9BFF0715F83A}"/>
              </a:ext>
            </a:extLst>
          </p:cNvPr>
          <p:cNvSpPr>
            <a:spLocks noGrp="1"/>
          </p:cNvSpPr>
          <p:nvPr>
            <p:ph type="body" idx="123" hasCustomPrompt="1"/>
          </p:nvPr>
        </p:nvSpPr>
        <p:spPr>
          <a:xfrm>
            <a:off x="9468000" y="4174404"/>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58" name="name 5.3">
            <a:extLst>
              <a:ext uri="{FF2B5EF4-FFF2-40B4-BE49-F238E27FC236}">
                <a16:creationId xmlns:a16="http://schemas.microsoft.com/office/drawing/2014/main" id="{31F74E95-42ED-8F56-A3CC-66DBD3C55D1A}"/>
              </a:ext>
            </a:extLst>
          </p:cNvPr>
          <p:cNvSpPr>
            <a:spLocks noGrp="1"/>
          </p:cNvSpPr>
          <p:nvPr>
            <p:ph type="body" idx="97"/>
          </p:nvPr>
        </p:nvSpPr>
        <p:spPr>
          <a:xfrm>
            <a:off x="10440000" y="4173612"/>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0" name="picture 5.3">
            <a:extLst>
              <a:ext uri="{FF2B5EF4-FFF2-40B4-BE49-F238E27FC236}">
                <a16:creationId xmlns:a16="http://schemas.microsoft.com/office/drawing/2014/main" id="{B8DD2B2A-ABB0-9686-780D-CEEB87FEFABA}"/>
              </a:ext>
            </a:extLst>
          </p:cNvPr>
          <p:cNvSpPr>
            <a:spLocks noGrp="1"/>
          </p:cNvSpPr>
          <p:nvPr>
            <p:ph type="pic" sz="quarter" idx="98"/>
          </p:nvPr>
        </p:nvSpPr>
        <p:spPr>
          <a:xfrm>
            <a:off x="9468000" y="4173612"/>
            <a:ext cx="900000" cy="9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68" name="shadow 5.4">
            <a:extLst>
              <a:ext uri="{FF2B5EF4-FFF2-40B4-BE49-F238E27FC236}">
                <a16:creationId xmlns:a16="http://schemas.microsoft.com/office/drawing/2014/main" id="{272731C1-D5C1-00F2-BD8F-13F1B73EB7A2}"/>
              </a:ext>
            </a:extLst>
          </p:cNvPr>
          <p:cNvSpPr>
            <a:spLocks noGrp="1"/>
          </p:cNvSpPr>
          <p:nvPr>
            <p:ph type="body" idx="124" hasCustomPrompt="1"/>
          </p:nvPr>
        </p:nvSpPr>
        <p:spPr>
          <a:xfrm>
            <a:off x="9468000" y="5265849"/>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70" name="name 5.4">
            <a:extLst>
              <a:ext uri="{FF2B5EF4-FFF2-40B4-BE49-F238E27FC236}">
                <a16:creationId xmlns:a16="http://schemas.microsoft.com/office/drawing/2014/main" id="{A5903192-BC2C-1FBF-FC59-BD95876CAC42}"/>
              </a:ext>
            </a:extLst>
          </p:cNvPr>
          <p:cNvSpPr>
            <a:spLocks noGrp="1"/>
          </p:cNvSpPr>
          <p:nvPr>
            <p:ph type="body" idx="99"/>
          </p:nvPr>
        </p:nvSpPr>
        <p:spPr>
          <a:xfrm>
            <a:off x="10440000" y="5265850"/>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71" name="picture 5.4">
            <a:extLst>
              <a:ext uri="{FF2B5EF4-FFF2-40B4-BE49-F238E27FC236}">
                <a16:creationId xmlns:a16="http://schemas.microsoft.com/office/drawing/2014/main" id="{56681970-C27F-D582-E95D-839360C79DAD}"/>
              </a:ext>
            </a:extLst>
          </p:cNvPr>
          <p:cNvSpPr>
            <a:spLocks noGrp="1"/>
          </p:cNvSpPr>
          <p:nvPr>
            <p:ph type="pic" sz="quarter" idx="100"/>
          </p:nvPr>
        </p:nvSpPr>
        <p:spPr>
          <a:xfrm>
            <a:off x="9468000" y="5265850"/>
            <a:ext cx="900000" cy="9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77" name="name 5">
            <a:extLst>
              <a:ext uri="{FF2B5EF4-FFF2-40B4-BE49-F238E27FC236}">
                <a16:creationId xmlns:a16="http://schemas.microsoft.com/office/drawing/2014/main" id="{1A90B36F-AF12-D3EA-33A4-C5CF0C21CD02}"/>
              </a:ext>
            </a:extLst>
          </p:cNvPr>
          <p:cNvSpPr>
            <a:spLocks noGrp="1"/>
          </p:cNvSpPr>
          <p:nvPr>
            <p:ph type="body" idx="105"/>
          </p:nvPr>
        </p:nvSpPr>
        <p:spPr>
          <a:xfrm>
            <a:off x="9468000" y="1512000"/>
            <a:ext cx="2124000" cy="360000"/>
          </a:xfrm>
        </p:spPr>
        <p:txBody>
          <a:bodyPr lIns="0" rIns="0" anchor="b" anchorCtr="0"/>
          <a:lstStyle>
            <a:lvl1pPr marL="0" indent="0" algn="l">
              <a:lnSpc>
                <a:spcPts val="1400"/>
              </a:lnSpc>
              <a:spcBef>
                <a:spcPts val="0"/>
              </a:spcBef>
              <a:spcAft>
                <a:spcPts val="0"/>
              </a:spcAft>
              <a:buNone/>
              <a:defRPr sz="1200" b="0" cap="all" spc="100" baseline="0">
                <a:gradFill>
                  <a:gsLst>
                    <a:gs pos="0">
                      <a:srgbClr val="FF4B4B"/>
                    </a:gs>
                    <a:gs pos="100000">
                      <a:srgbClr val="FF744F"/>
                    </a:gs>
                  </a:gsLst>
                  <a:lin ang="18900000" scaled="1"/>
                </a:gra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3" name="shadow 4.4">
            <a:extLst>
              <a:ext uri="{FF2B5EF4-FFF2-40B4-BE49-F238E27FC236}">
                <a16:creationId xmlns:a16="http://schemas.microsoft.com/office/drawing/2014/main" id="{2A4AB71A-69B1-1E40-4331-F831E87DE9D1}"/>
              </a:ext>
            </a:extLst>
          </p:cNvPr>
          <p:cNvSpPr>
            <a:spLocks noGrp="1"/>
          </p:cNvSpPr>
          <p:nvPr>
            <p:ph type="body" idx="120" hasCustomPrompt="1"/>
          </p:nvPr>
        </p:nvSpPr>
        <p:spPr>
          <a:xfrm>
            <a:off x="7236000" y="5265849"/>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43" name="name 4.4">
            <a:extLst>
              <a:ext uri="{FF2B5EF4-FFF2-40B4-BE49-F238E27FC236}">
                <a16:creationId xmlns:a16="http://schemas.microsoft.com/office/drawing/2014/main" id="{8D117A0A-A9AC-BE3B-927E-AD9984E442CA}"/>
              </a:ext>
            </a:extLst>
          </p:cNvPr>
          <p:cNvSpPr>
            <a:spLocks noGrp="1"/>
          </p:cNvSpPr>
          <p:nvPr>
            <p:ph type="body" idx="91"/>
          </p:nvPr>
        </p:nvSpPr>
        <p:spPr>
          <a:xfrm>
            <a:off x="8208000" y="5265850"/>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6" name="picture 4.4">
            <a:extLst>
              <a:ext uri="{FF2B5EF4-FFF2-40B4-BE49-F238E27FC236}">
                <a16:creationId xmlns:a16="http://schemas.microsoft.com/office/drawing/2014/main" id="{E7585B42-ADA9-D55E-F18A-737E79F2A633}"/>
              </a:ext>
            </a:extLst>
          </p:cNvPr>
          <p:cNvSpPr>
            <a:spLocks noGrp="1"/>
          </p:cNvSpPr>
          <p:nvPr>
            <p:ph type="pic" sz="quarter" idx="92"/>
          </p:nvPr>
        </p:nvSpPr>
        <p:spPr>
          <a:xfrm>
            <a:off x="7236000" y="5265850"/>
            <a:ext cx="900000" cy="9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62" name="shadow 4.3">
            <a:extLst>
              <a:ext uri="{FF2B5EF4-FFF2-40B4-BE49-F238E27FC236}">
                <a16:creationId xmlns:a16="http://schemas.microsoft.com/office/drawing/2014/main" id="{4BC4D9DE-1227-FCE0-1BCF-0117045D86C0}"/>
              </a:ext>
            </a:extLst>
          </p:cNvPr>
          <p:cNvSpPr>
            <a:spLocks noGrp="1"/>
          </p:cNvSpPr>
          <p:nvPr>
            <p:ph type="body" idx="119" hasCustomPrompt="1"/>
          </p:nvPr>
        </p:nvSpPr>
        <p:spPr>
          <a:xfrm>
            <a:off x="7236000" y="4174404"/>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dirty="0"/>
              <a:t> </a:t>
            </a:r>
          </a:p>
        </p:txBody>
      </p:sp>
      <p:sp>
        <p:nvSpPr>
          <p:cNvPr id="41" name="name 4.3">
            <a:extLst>
              <a:ext uri="{FF2B5EF4-FFF2-40B4-BE49-F238E27FC236}">
                <a16:creationId xmlns:a16="http://schemas.microsoft.com/office/drawing/2014/main" id="{20E4104B-3A58-A084-0BFA-CDBADC0B4D00}"/>
              </a:ext>
            </a:extLst>
          </p:cNvPr>
          <p:cNvSpPr>
            <a:spLocks noGrp="1"/>
          </p:cNvSpPr>
          <p:nvPr>
            <p:ph type="body" idx="89"/>
          </p:nvPr>
        </p:nvSpPr>
        <p:spPr>
          <a:xfrm>
            <a:off x="8208000" y="4173612"/>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2" name="picture 4.3">
            <a:extLst>
              <a:ext uri="{FF2B5EF4-FFF2-40B4-BE49-F238E27FC236}">
                <a16:creationId xmlns:a16="http://schemas.microsoft.com/office/drawing/2014/main" id="{7FD24508-AE74-D420-15D5-9437BE1D2B2E}"/>
              </a:ext>
            </a:extLst>
          </p:cNvPr>
          <p:cNvSpPr>
            <a:spLocks noGrp="1"/>
          </p:cNvSpPr>
          <p:nvPr>
            <p:ph type="pic" sz="quarter" idx="90"/>
          </p:nvPr>
        </p:nvSpPr>
        <p:spPr>
          <a:xfrm>
            <a:off x="7236000" y="4173612"/>
            <a:ext cx="900000" cy="9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61" name="shadow 4.2">
            <a:extLst>
              <a:ext uri="{FF2B5EF4-FFF2-40B4-BE49-F238E27FC236}">
                <a16:creationId xmlns:a16="http://schemas.microsoft.com/office/drawing/2014/main" id="{C6D427AF-1726-3332-EA28-E0EDEAF184CC}"/>
              </a:ext>
            </a:extLst>
          </p:cNvPr>
          <p:cNvSpPr>
            <a:spLocks noGrp="1"/>
          </p:cNvSpPr>
          <p:nvPr>
            <p:ph type="body" idx="118" hasCustomPrompt="1"/>
          </p:nvPr>
        </p:nvSpPr>
        <p:spPr>
          <a:xfrm>
            <a:off x="7236000" y="3082960"/>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39" name="name 4.2">
            <a:extLst>
              <a:ext uri="{FF2B5EF4-FFF2-40B4-BE49-F238E27FC236}">
                <a16:creationId xmlns:a16="http://schemas.microsoft.com/office/drawing/2014/main" id="{8FF9A2AF-F6B0-F168-DDAC-AC439481E31B}"/>
              </a:ext>
            </a:extLst>
          </p:cNvPr>
          <p:cNvSpPr>
            <a:spLocks noGrp="1"/>
          </p:cNvSpPr>
          <p:nvPr>
            <p:ph type="body" idx="87"/>
          </p:nvPr>
        </p:nvSpPr>
        <p:spPr>
          <a:xfrm>
            <a:off x="8208000" y="3081375"/>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0" name="picture 4.2">
            <a:extLst>
              <a:ext uri="{FF2B5EF4-FFF2-40B4-BE49-F238E27FC236}">
                <a16:creationId xmlns:a16="http://schemas.microsoft.com/office/drawing/2014/main" id="{56B30A07-C6EF-9F7A-09D3-0AA11643C4F4}"/>
              </a:ext>
            </a:extLst>
          </p:cNvPr>
          <p:cNvSpPr>
            <a:spLocks noGrp="1"/>
          </p:cNvSpPr>
          <p:nvPr>
            <p:ph type="pic" sz="quarter" idx="88"/>
          </p:nvPr>
        </p:nvSpPr>
        <p:spPr>
          <a:xfrm>
            <a:off x="7236000" y="3081375"/>
            <a:ext cx="900000" cy="9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59" name="shadow 4.1">
            <a:extLst>
              <a:ext uri="{FF2B5EF4-FFF2-40B4-BE49-F238E27FC236}">
                <a16:creationId xmlns:a16="http://schemas.microsoft.com/office/drawing/2014/main" id="{51D838D3-E9AB-4C2A-D686-A87A1050DA35}"/>
              </a:ext>
            </a:extLst>
          </p:cNvPr>
          <p:cNvSpPr>
            <a:spLocks noGrp="1"/>
          </p:cNvSpPr>
          <p:nvPr>
            <p:ph type="body" idx="117" hasCustomPrompt="1"/>
          </p:nvPr>
        </p:nvSpPr>
        <p:spPr>
          <a:xfrm>
            <a:off x="7236000" y="1991516"/>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37" name="name 4.1">
            <a:extLst>
              <a:ext uri="{FF2B5EF4-FFF2-40B4-BE49-F238E27FC236}">
                <a16:creationId xmlns:a16="http://schemas.microsoft.com/office/drawing/2014/main" id="{1998D8DE-7AD8-C7D5-1A1F-C44B9C1DAE00}"/>
              </a:ext>
            </a:extLst>
          </p:cNvPr>
          <p:cNvSpPr>
            <a:spLocks noGrp="1"/>
          </p:cNvSpPr>
          <p:nvPr>
            <p:ph type="body" idx="85"/>
          </p:nvPr>
        </p:nvSpPr>
        <p:spPr>
          <a:xfrm>
            <a:off x="8208000" y="1989138"/>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8" name="picture 4.1">
            <a:extLst>
              <a:ext uri="{FF2B5EF4-FFF2-40B4-BE49-F238E27FC236}">
                <a16:creationId xmlns:a16="http://schemas.microsoft.com/office/drawing/2014/main" id="{0908AD6E-1707-2AF3-B561-3EF15C0355FA}"/>
              </a:ext>
            </a:extLst>
          </p:cNvPr>
          <p:cNvSpPr>
            <a:spLocks noGrp="1"/>
          </p:cNvSpPr>
          <p:nvPr>
            <p:ph type="pic" sz="quarter" idx="86"/>
          </p:nvPr>
        </p:nvSpPr>
        <p:spPr>
          <a:xfrm>
            <a:off x="7236000" y="1989138"/>
            <a:ext cx="900000" cy="9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76" name="name 4">
            <a:extLst>
              <a:ext uri="{FF2B5EF4-FFF2-40B4-BE49-F238E27FC236}">
                <a16:creationId xmlns:a16="http://schemas.microsoft.com/office/drawing/2014/main" id="{4AED7C7E-1399-7EB1-31EC-6879CC33A37E}"/>
              </a:ext>
            </a:extLst>
          </p:cNvPr>
          <p:cNvSpPr>
            <a:spLocks noGrp="1"/>
          </p:cNvSpPr>
          <p:nvPr>
            <p:ph type="body" idx="104"/>
          </p:nvPr>
        </p:nvSpPr>
        <p:spPr>
          <a:xfrm>
            <a:off x="7236000" y="1512000"/>
            <a:ext cx="2124000" cy="360000"/>
          </a:xfrm>
        </p:spPr>
        <p:txBody>
          <a:bodyPr lIns="0" rIns="0" anchor="b" anchorCtr="0"/>
          <a:lstStyle>
            <a:lvl1pPr marL="0" indent="0" algn="l">
              <a:lnSpc>
                <a:spcPts val="1400"/>
              </a:lnSpc>
              <a:spcBef>
                <a:spcPts val="0"/>
              </a:spcBef>
              <a:spcAft>
                <a:spcPts val="0"/>
              </a:spcAft>
              <a:buNone/>
              <a:defRPr sz="1200" b="0" cap="all" spc="100" baseline="0">
                <a:gradFill>
                  <a:gsLst>
                    <a:gs pos="0">
                      <a:srgbClr val="FF4B4B"/>
                    </a:gs>
                    <a:gs pos="100000">
                      <a:srgbClr val="FF744F"/>
                    </a:gs>
                  </a:gsLst>
                  <a:lin ang="18900000" scaled="1"/>
                </a:gra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7" name="shadow 3.4">
            <a:extLst>
              <a:ext uri="{FF2B5EF4-FFF2-40B4-BE49-F238E27FC236}">
                <a16:creationId xmlns:a16="http://schemas.microsoft.com/office/drawing/2014/main" id="{811720C1-E4D8-5059-9319-034975812614}"/>
              </a:ext>
            </a:extLst>
          </p:cNvPr>
          <p:cNvSpPr>
            <a:spLocks noGrp="1"/>
          </p:cNvSpPr>
          <p:nvPr>
            <p:ph type="body" idx="116" hasCustomPrompt="1"/>
          </p:nvPr>
        </p:nvSpPr>
        <p:spPr>
          <a:xfrm>
            <a:off x="5004000" y="5265849"/>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35" name="name 3.4">
            <a:extLst>
              <a:ext uri="{FF2B5EF4-FFF2-40B4-BE49-F238E27FC236}">
                <a16:creationId xmlns:a16="http://schemas.microsoft.com/office/drawing/2014/main" id="{2CD576BB-D341-D771-2C93-689C77AF8A16}"/>
              </a:ext>
            </a:extLst>
          </p:cNvPr>
          <p:cNvSpPr>
            <a:spLocks noGrp="1"/>
          </p:cNvSpPr>
          <p:nvPr>
            <p:ph type="body" idx="83"/>
          </p:nvPr>
        </p:nvSpPr>
        <p:spPr>
          <a:xfrm>
            <a:off x="5976000" y="5265850"/>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6" name="picture 3.4">
            <a:extLst>
              <a:ext uri="{FF2B5EF4-FFF2-40B4-BE49-F238E27FC236}">
                <a16:creationId xmlns:a16="http://schemas.microsoft.com/office/drawing/2014/main" id="{A997D85A-23B8-CE5C-F44F-EA4281FED663}"/>
              </a:ext>
            </a:extLst>
          </p:cNvPr>
          <p:cNvSpPr>
            <a:spLocks noGrp="1"/>
          </p:cNvSpPr>
          <p:nvPr>
            <p:ph type="pic" sz="quarter" idx="84"/>
          </p:nvPr>
        </p:nvSpPr>
        <p:spPr>
          <a:xfrm>
            <a:off x="5004000" y="5265850"/>
            <a:ext cx="900000" cy="9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56" name="shadow 3.3">
            <a:extLst>
              <a:ext uri="{FF2B5EF4-FFF2-40B4-BE49-F238E27FC236}">
                <a16:creationId xmlns:a16="http://schemas.microsoft.com/office/drawing/2014/main" id="{B894C412-0065-4067-2D7A-8B7526DD53C5}"/>
              </a:ext>
            </a:extLst>
          </p:cNvPr>
          <p:cNvSpPr>
            <a:spLocks noGrp="1"/>
          </p:cNvSpPr>
          <p:nvPr>
            <p:ph type="body" idx="115" hasCustomPrompt="1"/>
          </p:nvPr>
        </p:nvSpPr>
        <p:spPr>
          <a:xfrm>
            <a:off x="5004000" y="4174404"/>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33" name="name 3.3">
            <a:extLst>
              <a:ext uri="{FF2B5EF4-FFF2-40B4-BE49-F238E27FC236}">
                <a16:creationId xmlns:a16="http://schemas.microsoft.com/office/drawing/2014/main" id="{157702DF-90BE-0FED-5BD0-A5CFAC91B308}"/>
              </a:ext>
            </a:extLst>
          </p:cNvPr>
          <p:cNvSpPr>
            <a:spLocks noGrp="1"/>
          </p:cNvSpPr>
          <p:nvPr>
            <p:ph type="body" idx="81"/>
          </p:nvPr>
        </p:nvSpPr>
        <p:spPr>
          <a:xfrm>
            <a:off x="5976000" y="4173612"/>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4" name="picture 3.3">
            <a:extLst>
              <a:ext uri="{FF2B5EF4-FFF2-40B4-BE49-F238E27FC236}">
                <a16:creationId xmlns:a16="http://schemas.microsoft.com/office/drawing/2014/main" id="{084445D3-24C0-0A7C-54B3-FBF6581EF1FF}"/>
              </a:ext>
            </a:extLst>
          </p:cNvPr>
          <p:cNvSpPr>
            <a:spLocks noGrp="1"/>
          </p:cNvSpPr>
          <p:nvPr>
            <p:ph type="pic" sz="quarter" idx="82"/>
          </p:nvPr>
        </p:nvSpPr>
        <p:spPr>
          <a:xfrm>
            <a:off x="5004000" y="4173612"/>
            <a:ext cx="900000" cy="9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54" name="shadow 3.2">
            <a:extLst>
              <a:ext uri="{FF2B5EF4-FFF2-40B4-BE49-F238E27FC236}">
                <a16:creationId xmlns:a16="http://schemas.microsoft.com/office/drawing/2014/main" id="{FD56D13F-73B3-3F88-7DC1-3D8DE6E37C34}"/>
              </a:ext>
            </a:extLst>
          </p:cNvPr>
          <p:cNvSpPr>
            <a:spLocks noGrp="1"/>
          </p:cNvSpPr>
          <p:nvPr>
            <p:ph type="body" idx="114" hasCustomPrompt="1"/>
          </p:nvPr>
        </p:nvSpPr>
        <p:spPr>
          <a:xfrm>
            <a:off x="5004000" y="3082960"/>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31" name="name 3.2">
            <a:extLst>
              <a:ext uri="{FF2B5EF4-FFF2-40B4-BE49-F238E27FC236}">
                <a16:creationId xmlns:a16="http://schemas.microsoft.com/office/drawing/2014/main" id="{CEC84D17-7384-EC96-C1FB-BCFFAC22B70E}"/>
              </a:ext>
            </a:extLst>
          </p:cNvPr>
          <p:cNvSpPr>
            <a:spLocks noGrp="1"/>
          </p:cNvSpPr>
          <p:nvPr>
            <p:ph type="body" idx="79"/>
          </p:nvPr>
        </p:nvSpPr>
        <p:spPr>
          <a:xfrm>
            <a:off x="5976000" y="3081375"/>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2" name="picture 3.2">
            <a:extLst>
              <a:ext uri="{FF2B5EF4-FFF2-40B4-BE49-F238E27FC236}">
                <a16:creationId xmlns:a16="http://schemas.microsoft.com/office/drawing/2014/main" id="{A204849E-7B66-2550-EE33-F79B39331B3D}"/>
              </a:ext>
            </a:extLst>
          </p:cNvPr>
          <p:cNvSpPr>
            <a:spLocks noGrp="1"/>
          </p:cNvSpPr>
          <p:nvPr>
            <p:ph type="pic" sz="quarter" idx="80"/>
          </p:nvPr>
        </p:nvSpPr>
        <p:spPr>
          <a:xfrm>
            <a:off x="5004000" y="3081375"/>
            <a:ext cx="900000" cy="9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53" name="shadow 3.1">
            <a:extLst>
              <a:ext uri="{FF2B5EF4-FFF2-40B4-BE49-F238E27FC236}">
                <a16:creationId xmlns:a16="http://schemas.microsoft.com/office/drawing/2014/main" id="{30165A19-373E-5D4A-1D1C-5389ABC35F5D}"/>
              </a:ext>
            </a:extLst>
          </p:cNvPr>
          <p:cNvSpPr>
            <a:spLocks noGrp="1"/>
          </p:cNvSpPr>
          <p:nvPr>
            <p:ph type="body" idx="113" hasCustomPrompt="1"/>
          </p:nvPr>
        </p:nvSpPr>
        <p:spPr>
          <a:xfrm>
            <a:off x="5004000" y="1991516"/>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29" name="name 3.1">
            <a:extLst>
              <a:ext uri="{FF2B5EF4-FFF2-40B4-BE49-F238E27FC236}">
                <a16:creationId xmlns:a16="http://schemas.microsoft.com/office/drawing/2014/main" id="{0BB5101B-E8EE-0591-8150-5A093F5306FD}"/>
              </a:ext>
            </a:extLst>
          </p:cNvPr>
          <p:cNvSpPr>
            <a:spLocks noGrp="1"/>
          </p:cNvSpPr>
          <p:nvPr>
            <p:ph type="body" idx="77"/>
          </p:nvPr>
        </p:nvSpPr>
        <p:spPr>
          <a:xfrm>
            <a:off x="5976000" y="1989138"/>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0" name="picture 3.1">
            <a:extLst>
              <a:ext uri="{FF2B5EF4-FFF2-40B4-BE49-F238E27FC236}">
                <a16:creationId xmlns:a16="http://schemas.microsoft.com/office/drawing/2014/main" id="{00E7D553-EDC9-0225-5F32-250786A19C1C}"/>
              </a:ext>
            </a:extLst>
          </p:cNvPr>
          <p:cNvSpPr>
            <a:spLocks noGrp="1"/>
          </p:cNvSpPr>
          <p:nvPr>
            <p:ph type="pic" sz="quarter" idx="78"/>
          </p:nvPr>
        </p:nvSpPr>
        <p:spPr>
          <a:xfrm>
            <a:off x="5004000" y="1989138"/>
            <a:ext cx="900000" cy="9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75" name="name 3">
            <a:extLst>
              <a:ext uri="{FF2B5EF4-FFF2-40B4-BE49-F238E27FC236}">
                <a16:creationId xmlns:a16="http://schemas.microsoft.com/office/drawing/2014/main" id="{51C97EA7-102D-1E54-D235-EA61692DA024}"/>
              </a:ext>
            </a:extLst>
          </p:cNvPr>
          <p:cNvSpPr>
            <a:spLocks noGrp="1"/>
          </p:cNvSpPr>
          <p:nvPr>
            <p:ph type="body" idx="103"/>
          </p:nvPr>
        </p:nvSpPr>
        <p:spPr>
          <a:xfrm>
            <a:off x="5004000" y="1512000"/>
            <a:ext cx="2124000" cy="360000"/>
          </a:xfrm>
        </p:spPr>
        <p:txBody>
          <a:bodyPr lIns="0" rIns="0" anchor="b" anchorCtr="0"/>
          <a:lstStyle>
            <a:lvl1pPr marL="0" indent="0" algn="l">
              <a:lnSpc>
                <a:spcPts val="1400"/>
              </a:lnSpc>
              <a:spcBef>
                <a:spcPts val="0"/>
              </a:spcBef>
              <a:spcAft>
                <a:spcPts val="0"/>
              </a:spcAft>
              <a:buNone/>
              <a:defRPr sz="1200" b="0" cap="all" spc="100" baseline="0">
                <a:gradFill>
                  <a:gsLst>
                    <a:gs pos="0">
                      <a:srgbClr val="FF4B4B"/>
                    </a:gs>
                    <a:gs pos="100000">
                      <a:srgbClr val="FF744F"/>
                    </a:gs>
                  </a:gsLst>
                  <a:lin ang="18900000" scaled="1"/>
                </a:gra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1" name="shadow 2.4">
            <a:extLst>
              <a:ext uri="{FF2B5EF4-FFF2-40B4-BE49-F238E27FC236}">
                <a16:creationId xmlns:a16="http://schemas.microsoft.com/office/drawing/2014/main" id="{1102EBEB-ED76-5FBA-2927-69B07359D8FD}"/>
              </a:ext>
            </a:extLst>
          </p:cNvPr>
          <p:cNvSpPr>
            <a:spLocks noGrp="1"/>
          </p:cNvSpPr>
          <p:nvPr>
            <p:ph type="body" idx="112" hasCustomPrompt="1"/>
          </p:nvPr>
        </p:nvSpPr>
        <p:spPr>
          <a:xfrm>
            <a:off x="2772000" y="5265849"/>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27" name="name 2.4">
            <a:extLst>
              <a:ext uri="{FF2B5EF4-FFF2-40B4-BE49-F238E27FC236}">
                <a16:creationId xmlns:a16="http://schemas.microsoft.com/office/drawing/2014/main" id="{495545F0-66B3-E8F4-3A8A-2AFF6611F334}"/>
              </a:ext>
            </a:extLst>
          </p:cNvPr>
          <p:cNvSpPr>
            <a:spLocks noGrp="1"/>
          </p:cNvSpPr>
          <p:nvPr>
            <p:ph type="body" idx="75"/>
          </p:nvPr>
        </p:nvSpPr>
        <p:spPr>
          <a:xfrm>
            <a:off x="3744000" y="5265850"/>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8" name="picture 2.4">
            <a:extLst>
              <a:ext uri="{FF2B5EF4-FFF2-40B4-BE49-F238E27FC236}">
                <a16:creationId xmlns:a16="http://schemas.microsoft.com/office/drawing/2014/main" id="{567085A6-0F2B-4305-8071-F456333C1F58}"/>
              </a:ext>
            </a:extLst>
          </p:cNvPr>
          <p:cNvSpPr>
            <a:spLocks noGrp="1"/>
          </p:cNvSpPr>
          <p:nvPr>
            <p:ph type="pic" sz="quarter" idx="76"/>
          </p:nvPr>
        </p:nvSpPr>
        <p:spPr>
          <a:xfrm>
            <a:off x="2772000" y="5265850"/>
            <a:ext cx="900000" cy="9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48" name="shadow 2.3">
            <a:extLst>
              <a:ext uri="{FF2B5EF4-FFF2-40B4-BE49-F238E27FC236}">
                <a16:creationId xmlns:a16="http://schemas.microsoft.com/office/drawing/2014/main" id="{EAF1B640-F018-3C3A-1094-7FE7A5AF685C}"/>
              </a:ext>
            </a:extLst>
          </p:cNvPr>
          <p:cNvSpPr>
            <a:spLocks noGrp="1"/>
          </p:cNvSpPr>
          <p:nvPr>
            <p:ph type="body" idx="111" hasCustomPrompt="1"/>
          </p:nvPr>
        </p:nvSpPr>
        <p:spPr>
          <a:xfrm>
            <a:off x="2772000" y="4174404"/>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25" name="name 2.3">
            <a:extLst>
              <a:ext uri="{FF2B5EF4-FFF2-40B4-BE49-F238E27FC236}">
                <a16:creationId xmlns:a16="http://schemas.microsoft.com/office/drawing/2014/main" id="{63A65190-84AE-822A-6BE1-48476276059A}"/>
              </a:ext>
            </a:extLst>
          </p:cNvPr>
          <p:cNvSpPr>
            <a:spLocks noGrp="1"/>
          </p:cNvSpPr>
          <p:nvPr>
            <p:ph type="body" idx="73"/>
          </p:nvPr>
        </p:nvSpPr>
        <p:spPr>
          <a:xfrm>
            <a:off x="3744000" y="4173612"/>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6" name="picture 2.3">
            <a:extLst>
              <a:ext uri="{FF2B5EF4-FFF2-40B4-BE49-F238E27FC236}">
                <a16:creationId xmlns:a16="http://schemas.microsoft.com/office/drawing/2014/main" id="{D9BC618B-BD6B-C520-5ED3-C4331E261F10}"/>
              </a:ext>
            </a:extLst>
          </p:cNvPr>
          <p:cNvSpPr>
            <a:spLocks noGrp="1"/>
          </p:cNvSpPr>
          <p:nvPr>
            <p:ph type="pic" sz="quarter" idx="74"/>
          </p:nvPr>
        </p:nvSpPr>
        <p:spPr>
          <a:xfrm>
            <a:off x="2772000" y="4173612"/>
            <a:ext cx="900000" cy="9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47" name="shadow 2.2">
            <a:extLst>
              <a:ext uri="{FF2B5EF4-FFF2-40B4-BE49-F238E27FC236}">
                <a16:creationId xmlns:a16="http://schemas.microsoft.com/office/drawing/2014/main" id="{0CE6D804-9FAC-2B3D-6B25-72E828BA88B5}"/>
              </a:ext>
            </a:extLst>
          </p:cNvPr>
          <p:cNvSpPr>
            <a:spLocks noGrp="1"/>
          </p:cNvSpPr>
          <p:nvPr>
            <p:ph type="body" idx="110" hasCustomPrompt="1"/>
          </p:nvPr>
        </p:nvSpPr>
        <p:spPr>
          <a:xfrm>
            <a:off x="2772000" y="3082960"/>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23" name="name 2.2">
            <a:extLst>
              <a:ext uri="{FF2B5EF4-FFF2-40B4-BE49-F238E27FC236}">
                <a16:creationId xmlns:a16="http://schemas.microsoft.com/office/drawing/2014/main" id="{6DBF9A3E-69EE-A339-B47D-ECAA88B76CC6}"/>
              </a:ext>
            </a:extLst>
          </p:cNvPr>
          <p:cNvSpPr>
            <a:spLocks noGrp="1"/>
          </p:cNvSpPr>
          <p:nvPr>
            <p:ph type="body" idx="71"/>
          </p:nvPr>
        </p:nvSpPr>
        <p:spPr>
          <a:xfrm>
            <a:off x="3744000" y="3081375"/>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4" name="picture 2.2">
            <a:extLst>
              <a:ext uri="{FF2B5EF4-FFF2-40B4-BE49-F238E27FC236}">
                <a16:creationId xmlns:a16="http://schemas.microsoft.com/office/drawing/2014/main" id="{80378937-B2DE-13F1-0B9E-BA10122C2371}"/>
              </a:ext>
            </a:extLst>
          </p:cNvPr>
          <p:cNvSpPr>
            <a:spLocks noGrp="1"/>
          </p:cNvSpPr>
          <p:nvPr>
            <p:ph type="pic" sz="quarter" idx="72"/>
          </p:nvPr>
        </p:nvSpPr>
        <p:spPr>
          <a:xfrm>
            <a:off x="2772000" y="3081375"/>
            <a:ext cx="900000" cy="9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45" name="shadow 2.1">
            <a:extLst>
              <a:ext uri="{FF2B5EF4-FFF2-40B4-BE49-F238E27FC236}">
                <a16:creationId xmlns:a16="http://schemas.microsoft.com/office/drawing/2014/main" id="{2323DAB4-2A5F-5AA6-7764-81581A38ABD5}"/>
              </a:ext>
            </a:extLst>
          </p:cNvPr>
          <p:cNvSpPr>
            <a:spLocks noGrp="1"/>
          </p:cNvSpPr>
          <p:nvPr>
            <p:ph type="body" idx="109" hasCustomPrompt="1"/>
          </p:nvPr>
        </p:nvSpPr>
        <p:spPr>
          <a:xfrm>
            <a:off x="2772000" y="1991516"/>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20" name="name 2.1">
            <a:extLst>
              <a:ext uri="{FF2B5EF4-FFF2-40B4-BE49-F238E27FC236}">
                <a16:creationId xmlns:a16="http://schemas.microsoft.com/office/drawing/2014/main" id="{59CD1CC2-8578-48A6-7250-6E0FE2D82602}"/>
              </a:ext>
            </a:extLst>
          </p:cNvPr>
          <p:cNvSpPr>
            <a:spLocks noGrp="1"/>
          </p:cNvSpPr>
          <p:nvPr>
            <p:ph type="body" idx="69"/>
          </p:nvPr>
        </p:nvSpPr>
        <p:spPr>
          <a:xfrm>
            <a:off x="3744000" y="1989138"/>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2" name="picture 2.1">
            <a:extLst>
              <a:ext uri="{FF2B5EF4-FFF2-40B4-BE49-F238E27FC236}">
                <a16:creationId xmlns:a16="http://schemas.microsoft.com/office/drawing/2014/main" id="{F1ED6006-2311-4569-9CF2-1F793E7DBF51}"/>
              </a:ext>
            </a:extLst>
          </p:cNvPr>
          <p:cNvSpPr>
            <a:spLocks noGrp="1"/>
          </p:cNvSpPr>
          <p:nvPr>
            <p:ph type="pic" sz="quarter" idx="70"/>
          </p:nvPr>
        </p:nvSpPr>
        <p:spPr>
          <a:xfrm>
            <a:off x="2772000" y="1989138"/>
            <a:ext cx="900000" cy="9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74" name="name 2">
            <a:extLst>
              <a:ext uri="{FF2B5EF4-FFF2-40B4-BE49-F238E27FC236}">
                <a16:creationId xmlns:a16="http://schemas.microsoft.com/office/drawing/2014/main" id="{03C86CAB-069D-8F02-BB85-8C9C139D53CA}"/>
              </a:ext>
            </a:extLst>
          </p:cNvPr>
          <p:cNvSpPr>
            <a:spLocks noGrp="1"/>
          </p:cNvSpPr>
          <p:nvPr>
            <p:ph type="body" idx="102"/>
          </p:nvPr>
        </p:nvSpPr>
        <p:spPr>
          <a:xfrm>
            <a:off x="2772000" y="1512000"/>
            <a:ext cx="2124000" cy="360000"/>
          </a:xfrm>
        </p:spPr>
        <p:txBody>
          <a:bodyPr lIns="0" rIns="0" anchor="b" anchorCtr="0"/>
          <a:lstStyle>
            <a:lvl1pPr marL="0" indent="0" algn="l">
              <a:lnSpc>
                <a:spcPts val="1400"/>
              </a:lnSpc>
              <a:spcBef>
                <a:spcPts val="0"/>
              </a:spcBef>
              <a:spcAft>
                <a:spcPts val="0"/>
              </a:spcAft>
              <a:buNone/>
              <a:defRPr sz="1200" b="0" cap="all" spc="100" baseline="0">
                <a:gradFill>
                  <a:gsLst>
                    <a:gs pos="0">
                      <a:srgbClr val="FF4B4B"/>
                    </a:gs>
                    <a:gs pos="100000">
                      <a:srgbClr val="FF744F"/>
                    </a:gs>
                  </a:gsLst>
                  <a:lin ang="18900000" scaled="1"/>
                </a:gra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4" name="shadow 1.4">
            <a:extLst>
              <a:ext uri="{FF2B5EF4-FFF2-40B4-BE49-F238E27FC236}">
                <a16:creationId xmlns:a16="http://schemas.microsoft.com/office/drawing/2014/main" id="{7E9DD671-8F10-D106-D67D-CA8AF99842BD}"/>
              </a:ext>
            </a:extLst>
          </p:cNvPr>
          <p:cNvSpPr>
            <a:spLocks noGrp="1"/>
          </p:cNvSpPr>
          <p:nvPr>
            <p:ph type="body" idx="108" hasCustomPrompt="1"/>
          </p:nvPr>
        </p:nvSpPr>
        <p:spPr>
          <a:xfrm>
            <a:off x="540447" y="5265849"/>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17" name="name 1.4">
            <a:extLst>
              <a:ext uri="{FF2B5EF4-FFF2-40B4-BE49-F238E27FC236}">
                <a16:creationId xmlns:a16="http://schemas.microsoft.com/office/drawing/2014/main" id="{9E9E9EC2-BA30-9AB1-AFF1-93F5D6BA0855}"/>
              </a:ext>
            </a:extLst>
          </p:cNvPr>
          <p:cNvSpPr>
            <a:spLocks noGrp="1"/>
          </p:cNvSpPr>
          <p:nvPr>
            <p:ph type="body" idx="67"/>
          </p:nvPr>
        </p:nvSpPr>
        <p:spPr>
          <a:xfrm>
            <a:off x="1512000" y="5265850"/>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8" name="picture 1.4">
            <a:extLst>
              <a:ext uri="{FF2B5EF4-FFF2-40B4-BE49-F238E27FC236}">
                <a16:creationId xmlns:a16="http://schemas.microsoft.com/office/drawing/2014/main" id="{AF357C9E-17E6-0DCB-D7F6-EBD931CC7998}"/>
              </a:ext>
            </a:extLst>
          </p:cNvPr>
          <p:cNvSpPr>
            <a:spLocks noGrp="1"/>
          </p:cNvSpPr>
          <p:nvPr>
            <p:ph type="pic" sz="quarter" idx="68"/>
          </p:nvPr>
        </p:nvSpPr>
        <p:spPr>
          <a:xfrm>
            <a:off x="540000" y="5265850"/>
            <a:ext cx="918000" cy="918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21" name="shadow 1.3">
            <a:extLst>
              <a:ext uri="{FF2B5EF4-FFF2-40B4-BE49-F238E27FC236}">
                <a16:creationId xmlns:a16="http://schemas.microsoft.com/office/drawing/2014/main" id="{13C86E26-D84A-3504-0FC4-F8DCF5FFA8C2}"/>
              </a:ext>
            </a:extLst>
          </p:cNvPr>
          <p:cNvSpPr>
            <a:spLocks noGrp="1"/>
          </p:cNvSpPr>
          <p:nvPr>
            <p:ph type="body" idx="107" hasCustomPrompt="1"/>
          </p:nvPr>
        </p:nvSpPr>
        <p:spPr>
          <a:xfrm>
            <a:off x="540447" y="4174404"/>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15" name="name 1.3">
            <a:extLst>
              <a:ext uri="{FF2B5EF4-FFF2-40B4-BE49-F238E27FC236}">
                <a16:creationId xmlns:a16="http://schemas.microsoft.com/office/drawing/2014/main" id="{7F38FBC5-0864-53B0-9391-154CABBEE515}"/>
              </a:ext>
            </a:extLst>
          </p:cNvPr>
          <p:cNvSpPr>
            <a:spLocks noGrp="1"/>
          </p:cNvSpPr>
          <p:nvPr>
            <p:ph type="body" idx="65"/>
          </p:nvPr>
        </p:nvSpPr>
        <p:spPr>
          <a:xfrm>
            <a:off x="1512000" y="4173612"/>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6" name="picture 1.3">
            <a:extLst>
              <a:ext uri="{FF2B5EF4-FFF2-40B4-BE49-F238E27FC236}">
                <a16:creationId xmlns:a16="http://schemas.microsoft.com/office/drawing/2014/main" id="{B968DAAF-A177-4398-14E6-3C59B8EA245B}"/>
              </a:ext>
            </a:extLst>
          </p:cNvPr>
          <p:cNvSpPr>
            <a:spLocks noGrp="1"/>
          </p:cNvSpPr>
          <p:nvPr>
            <p:ph type="pic" sz="quarter" idx="66"/>
          </p:nvPr>
        </p:nvSpPr>
        <p:spPr>
          <a:xfrm>
            <a:off x="540000" y="4173612"/>
            <a:ext cx="918000" cy="918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14" name="shadow 1.2">
            <a:extLst>
              <a:ext uri="{FF2B5EF4-FFF2-40B4-BE49-F238E27FC236}">
                <a16:creationId xmlns:a16="http://schemas.microsoft.com/office/drawing/2014/main" id="{AA2B308B-4B3D-3E4D-61B5-910755F3C624}"/>
              </a:ext>
            </a:extLst>
          </p:cNvPr>
          <p:cNvSpPr>
            <a:spLocks noGrp="1"/>
          </p:cNvSpPr>
          <p:nvPr>
            <p:ph type="body" idx="106" hasCustomPrompt="1"/>
          </p:nvPr>
        </p:nvSpPr>
        <p:spPr>
          <a:xfrm>
            <a:off x="540447" y="3082960"/>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a:t>
            </a:r>
          </a:p>
        </p:txBody>
      </p:sp>
      <p:sp>
        <p:nvSpPr>
          <p:cNvPr id="3" name="name 1.2">
            <a:extLst>
              <a:ext uri="{FF2B5EF4-FFF2-40B4-BE49-F238E27FC236}">
                <a16:creationId xmlns:a16="http://schemas.microsoft.com/office/drawing/2014/main" id="{88CFACFA-87EF-95D0-8C72-D0985C9A2C9A}"/>
              </a:ext>
            </a:extLst>
          </p:cNvPr>
          <p:cNvSpPr>
            <a:spLocks noGrp="1"/>
          </p:cNvSpPr>
          <p:nvPr>
            <p:ph type="body" idx="63"/>
          </p:nvPr>
        </p:nvSpPr>
        <p:spPr>
          <a:xfrm>
            <a:off x="1512000" y="3081375"/>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7" name="picture 1.2">
            <a:extLst>
              <a:ext uri="{FF2B5EF4-FFF2-40B4-BE49-F238E27FC236}">
                <a16:creationId xmlns:a16="http://schemas.microsoft.com/office/drawing/2014/main" id="{F170D24D-6D4B-CE20-8C48-B0E876550DE4}"/>
              </a:ext>
            </a:extLst>
          </p:cNvPr>
          <p:cNvSpPr>
            <a:spLocks noGrp="1"/>
          </p:cNvSpPr>
          <p:nvPr>
            <p:ph type="pic" sz="quarter" idx="64"/>
          </p:nvPr>
        </p:nvSpPr>
        <p:spPr>
          <a:xfrm>
            <a:off x="540000" y="3081375"/>
            <a:ext cx="918000" cy="918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9" name="shadow 1">
            <a:extLst>
              <a:ext uri="{FF2B5EF4-FFF2-40B4-BE49-F238E27FC236}">
                <a16:creationId xmlns:a16="http://schemas.microsoft.com/office/drawing/2014/main" id="{8D3EDF33-EFB3-30DA-BE7A-0CF9B03715EE}"/>
              </a:ext>
            </a:extLst>
          </p:cNvPr>
          <p:cNvSpPr>
            <a:spLocks noGrp="1"/>
          </p:cNvSpPr>
          <p:nvPr>
            <p:ph type="body" idx="48" hasCustomPrompt="1"/>
          </p:nvPr>
        </p:nvSpPr>
        <p:spPr>
          <a:xfrm>
            <a:off x="540447" y="1991516"/>
            <a:ext cx="2124000" cy="900001"/>
          </a:xfrm>
          <a:prstGeom prst="roundRect">
            <a:avLst>
              <a:gd name="adj" fmla="val 6435"/>
            </a:avLst>
          </a:prstGeom>
          <a:solidFill>
            <a:schemeClr val="bg1"/>
          </a:solidFill>
          <a:ln w="6350">
            <a:noFill/>
          </a:ln>
          <a:effectLst>
            <a:outerShdw blurRad="63500" algn="ctr" rotWithShape="0">
              <a:schemeClr val="accent4">
                <a:alpha val="50000"/>
              </a:schemeClr>
            </a:outerShdw>
          </a:effectLst>
        </p:spPr>
        <p:txBody>
          <a:bodyPr vert="horz" lIns="288000" tIns="396000" rIns="288000" bIns="72000" rtlCol="0">
            <a:noAutofit/>
          </a:bodyPr>
          <a:lstStyle>
            <a:lvl1pPr>
              <a:defRPr lang="de-DE" i="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 &lt;</a:t>
            </a:r>
          </a:p>
        </p:txBody>
      </p:sp>
      <p:sp>
        <p:nvSpPr>
          <p:cNvPr id="65" name="name 1">
            <a:extLst>
              <a:ext uri="{FF2B5EF4-FFF2-40B4-BE49-F238E27FC236}">
                <a16:creationId xmlns:a16="http://schemas.microsoft.com/office/drawing/2014/main" id="{A5E7A693-8355-9728-17E9-8AEBA527FE40}"/>
              </a:ext>
            </a:extLst>
          </p:cNvPr>
          <p:cNvSpPr>
            <a:spLocks noGrp="1"/>
          </p:cNvSpPr>
          <p:nvPr>
            <p:ph type="body" idx="62"/>
          </p:nvPr>
        </p:nvSpPr>
        <p:spPr>
          <a:xfrm>
            <a:off x="1512000" y="1989138"/>
            <a:ext cx="1188000" cy="900000"/>
          </a:xfrm>
        </p:spPr>
        <p:txBody>
          <a:bodyPr lIns="72000" tIns="108000" rIns="72000" anchor="t"/>
          <a:lstStyle>
            <a:lvl1pPr marL="0" indent="0">
              <a:lnSpc>
                <a:spcPts val="1200"/>
              </a:lnSpc>
              <a:spcBef>
                <a:spcPts val="0"/>
              </a:spcBef>
              <a:spcAft>
                <a:spcPts val="0"/>
              </a:spcAft>
              <a:buNone/>
              <a:defRPr sz="1000" b="0" cap="all" spc="50" baseline="0">
                <a:latin typeface="Segoe UI Semibold" panose="020B0702040204020203" pitchFamily="34" charset="0"/>
                <a:cs typeface="Segoe UI Semibold" panose="020B0702040204020203" pitchFamily="34" charset="0"/>
              </a:defRPr>
            </a:lvl1pPr>
            <a:lvl2pPr marL="0" indent="0">
              <a:lnSpc>
                <a:spcPts val="1200"/>
              </a:lnSpc>
              <a:spcBef>
                <a:spcPts val="100"/>
              </a:spcBef>
              <a:spcAft>
                <a:spcPts val="100"/>
              </a:spcAft>
              <a:buNone/>
              <a:tabLst/>
              <a:defRPr sz="10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1" name="picture 1">
            <a:extLst>
              <a:ext uri="{FF2B5EF4-FFF2-40B4-BE49-F238E27FC236}">
                <a16:creationId xmlns:a16="http://schemas.microsoft.com/office/drawing/2014/main" id="{48BC97E5-F4FC-CFC7-7C93-504C59D7A2BF}"/>
              </a:ext>
            </a:extLst>
          </p:cNvPr>
          <p:cNvSpPr>
            <a:spLocks noGrp="1"/>
          </p:cNvSpPr>
          <p:nvPr>
            <p:ph type="pic" sz="quarter" idx="21"/>
          </p:nvPr>
        </p:nvSpPr>
        <p:spPr>
          <a:xfrm>
            <a:off x="540000" y="1989138"/>
            <a:ext cx="918000" cy="918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73" name="name 1">
            <a:extLst>
              <a:ext uri="{FF2B5EF4-FFF2-40B4-BE49-F238E27FC236}">
                <a16:creationId xmlns:a16="http://schemas.microsoft.com/office/drawing/2014/main" id="{DDF031AC-8E85-367D-65CB-E698D0871A97}"/>
              </a:ext>
            </a:extLst>
          </p:cNvPr>
          <p:cNvSpPr>
            <a:spLocks noGrp="1"/>
          </p:cNvSpPr>
          <p:nvPr>
            <p:ph type="body" idx="101"/>
          </p:nvPr>
        </p:nvSpPr>
        <p:spPr>
          <a:xfrm>
            <a:off x="540000" y="1512000"/>
            <a:ext cx="2124000" cy="360000"/>
          </a:xfrm>
        </p:spPr>
        <p:txBody>
          <a:bodyPr lIns="0" rIns="0" anchor="b" anchorCtr="0"/>
          <a:lstStyle>
            <a:lvl1pPr marL="0" indent="0" algn="l">
              <a:lnSpc>
                <a:spcPts val="1400"/>
              </a:lnSpc>
              <a:spcBef>
                <a:spcPts val="0"/>
              </a:spcBef>
              <a:spcAft>
                <a:spcPts val="0"/>
              </a:spcAft>
              <a:buNone/>
              <a:defRPr sz="1200" b="0" cap="all" spc="100" baseline="0">
                <a:gradFill>
                  <a:gsLst>
                    <a:gs pos="0">
                      <a:srgbClr val="FF4B4B"/>
                    </a:gs>
                    <a:gs pos="100000">
                      <a:srgbClr val="FF744F"/>
                    </a:gs>
                  </a:gsLst>
                  <a:lin ang="18900000" scaled="1"/>
                </a:gra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86" name="title">
            <a:extLst>
              <a:ext uri="{FF2B5EF4-FFF2-40B4-BE49-F238E27FC236}">
                <a16:creationId xmlns:a16="http://schemas.microsoft.com/office/drawing/2014/main" id="{457734AF-380A-E58A-7517-29028ECFA967}"/>
              </a:ext>
            </a:extLst>
          </p:cNvPr>
          <p:cNvSpPr>
            <a:spLocks noGrp="1"/>
          </p:cNvSpPr>
          <p:nvPr>
            <p:ph type="title"/>
          </p:nvPr>
        </p:nvSpPr>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3CCF9C9E-CC68-9C72-1637-DC78701B6BD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450386504"/>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  050 : 3 contacts : pictures">
    <p:spTree>
      <p:nvGrpSpPr>
        <p:cNvPr id="1" name=""/>
        <p:cNvGrpSpPr/>
        <p:nvPr/>
      </p:nvGrpSpPr>
      <p:grpSpPr>
        <a:xfrm>
          <a:off x="0" y="0"/>
          <a:ext cx="0" cy="0"/>
          <a:chOff x="0" y="0"/>
          <a:chExt cx="0" cy="0"/>
        </a:xfrm>
      </p:grpSpPr>
      <p:sp>
        <p:nvSpPr>
          <p:cNvPr id="2" name="shape">
            <a:extLst>
              <a:ext uri="{FF2B5EF4-FFF2-40B4-BE49-F238E27FC236}">
                <a16:creationId xmlns:a16="http://schemas.microsoft.com/office/drawing/2014/main" id="{32D5FD21-24FD-155A-3ADD-74927C6B098A}"/>
              </a:ext>
            </a:extLst>
          </p:cNvPr>
          <p:cNvSpPr/>
          <p:nvPr/>
        </p:nvSpPr>
        <p:spPr>
          <a:xfrm>
            <a:off x="4581342" y="0"/>
            <a:ext cx="7611926" cy="6859269"/>
          </a:xfrm>
          <a:custGeom>
            <a:avLst/>
            <a:gdLst>
              <a:gd name="connsiteX0" fmla="*/ 2412547 w 7611926"/>
              <a:gd name="connsiteY0" fmla="*/ 2053590 h 6859269"/>
              <a:gd name="connsiteX1" fmla="*/ 268787 w 7611926"/>
              <a:gd name="connsiteY1" fmla="*/ 3267710 h 6859269"/>
              <a:gd name="connsiteX2" fmla="*/ 1217477 w 7611926"/>
              <a:gd name="connsiteY2" fmla="*/ 6369050 h 6859269"/>
              <a:gd name="connsiteX3" fmla="*/ 1354637 w 7611926"/>
              <a:gd name="connsiteY3" fmla="*/ 6436360 h 6859269"/>
              <a:gd name="connsiteX4" fmla="*/ 1909627 w 7611926"/>
              <a:gd name="connsiteY4" fmla="*/ 6859270 h 6859269"/>
              <a:gd name="connsiteX5" fmla="*/ 7611927 w 7611926"/>
              <a:gd name="connsiteY5" fmla="*/ 6859270 h 6859269"/>
              <a:gd name="connsiteX6" fmla="*/ 7611927 w 7611926"/>
              <a:gd name="connsiteY6" fmla="*/ 0 h 6859269"/>
              <a:gd name="connsiteX7" fmla="*/ 4783638 w 7611926"/>
              <a:gd name="connsiteY7" fmla="*/ 0 h 6859269"/>
              <a:gd name="connsiteX8" fmla="*/ 2412547 w 7611926"/>
              <a:gd name="connsiteY8" fmla="*/ 2053590 h 6859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11926" h="6859269">
                <a:moveTo>
                  <a:pt x="2412547" y="2053590"/>
                </a:moveTo>
                <a:cubicBezTo>
                  <a:pt x="1551487" y="2009140"/>
                  <a:pt x="700587" y="2454910"/>
                  <a:pt x="268787" y="3267710"/>
                </a:cubicBezTo>
                <a:cubicBezTo>
                  <a:pt x="-325573" y="4385310"/>
                  <a:pt x="98607" y="5774690"/>
                  <a:pt x="1217477" y="6369050"/>
                </a:cubicBezTo>
                <a:cubicBezTo>
                  <a:pt x="1263197" y="6393180"/>
                  <a:pt x="1308917" y="6416040"/>
                  <a:pt x="1354637" y="6436360"/>
                </a:cubicBezTo>
                <a:cubicBezTo>
                  <a:pt x="1642927" y="6565900"/>
                  <a:pt x="1821997" y="6703060"/>
                  <a:pt x="1909627" y="6859270"/>
                </a:cubicBezTo>
                <a:lnTo>
                  <a:pt x="7611927" y="6859270"/>
                </a:lnTo>
                <a:lnTo>
                  <a:pt x="7611927" y="0"/>
                </a:lnTo>
                <a:lnTo>
                  <a:pt x="4783638" y="0"/>
                </a:lnTo>
                <a:cubicBezTo>
                  <a:pt x="4831897" y="1214120"/>
                  <a:pt x="4177847" y="2118360"/>
                  <a:pt x="2412547" y="2053590"/>
                </a:cubicBez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1" name="slide number">
            <a:extLst>
              <a:ext uri="{FF2B5EF4-FFF2-40B4-BE49-F238E27FC236}">
                <a16:creationId xmlns:a16="http://schemas.microsoft.com/office/drawing/2014/main" id="{C5255EC9-22C8-4873-6389-D880A370A1E3}"/>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6AC4CF78-E9FE-A7F7-A653-874905B45539}"/>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0A82CFE0-C725-9B9E-D77B-2B402604C532}"/>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3" name="subhead 3">
            <a:extLst>
              <a:ext uri="{FF2B5EF4-FFF2-40B4-BE49-F238E27FC236}">
                <a16:creationId xmlns:a16="http://schemas.microsoft.com/office/drawing/2014/main" id="{16A7ABF3-772E-DA5D-3046-8E8EF3007993}"/>
              </a:ext>
            </a:extLst>
          </p:cNvPr>
          <p:cNvSpPr>
            <a:spLocks noGrp="1"/>
          </p:cNvSpPr>
          <p:nvPr>
            <p:ph type="body" idx="29"/>
          </p:nvPr>
        </p:nvSpPr>
        <p:spPr>
          <a:xfrm>
            <a:off x="7797447" y="1800000"/>
            <a:ext cx="2592000" cy="4365850"/>
          </a:xfrm>
          <a:prstGeom prst="roundRect">
            <a:avLst>
              <a:gd name="adj" fmla="val 3230"/>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5" name="text 3">
            <a:extLst>
              <a:ext uri="{FF2B5EF4-FFF2-40B4-BE49-F238E27FC236}">
                <a16:creationId xmlns:a16="http://schemas.microsoft.com/office/drawing/2014/main" id="{C7DC55CB-CFA1-50D0-A2C4-1735484D9816}"/>
              </a:ext>
            </a:extLst>
          </p:cNvPr>
          <p:cNvSpPr>
            <a:spLocks noGrp="1"/>
          </p:cNvSpPr>
          <p:nvPr>
            <p:ph type="body" sz="quarter" idx="26"/>
          </p:nvPr>
        </p:nvSpPr>
        <p:spPr>
          <a:xfrm>
            <a:off x="7797447" y="3816000"/>
            <a:ext cx="2592000" cy="2349849"/>
          </a:xfrm>
        </p:spPr>
        <p:txBody>
          <a:bodyPr lIns="216000" rIns="216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lnSpc>
                <a:spcPts val="1600"/>
              </a:lnSpc>
              <a:spcBef>
                <a:spcPts val="300"/>
              </a:spcBef>
              <a:defRPr sz="1200"/>
            </a:lvl9pPr>
          </a:lstStyle>
          <a:p>
            <a:pPr lvl="0"/>
            <a:r>
              <a:rPr lang="de-DE"/>
              <a:t>Mastertextformat bearbeiten</a:t>
            </a:r>
          </a:p>
        </p:txBody>
      </p:sp>
      <p:sp>
        <p:nvSpPr>
          <p:cNvPr id="6" name="picture 3">
            <a:extLst>
              <a:ext uri="{FF2B5EF4-FFF2-40B4-BE49-F238E27FC236}">
                <a16:creationId xmlns:a16="http://schemas.microsoft.com/office/drawing/2014/main" id="{0BB6B5F7-CA67-AC6D-4997-F5301E779127}"/>
              </a:ext>
            </a:extLst>
          </p:cNvPr>
          <p:cNvSpPr>
            <a:spLocks noGrp="1"/>
          </p:cNvSpPr>
          <p:nvPr>
            <p:ph type="pic" sz="quarter" idx="23"/>
          </p:nvPr>
        </p:nvSpPr>
        <p:spPr>
          <a:xfrm>
            <a:off x="7797447" y="1800000"/>
            <a:ext cx="2592000" cy="1800000"/>
          </a:xfrm>
          <a:prstGeom prst="round2SameRect">
            <a:avLst>
              <a:gd name="adj1" fmla="val 4627"/>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7" name="subhead 2">
            <a:extLst>
              <a:ext uri="{FF2B5EF4-FFF2-40B4-BE49-F238E27FC236}">
                <a16:creationId xmlns:a16="http://schemas.microsoft.com/office/drawing/2014/main" id="{CB485AC5-DBD7-E662-51DF-DEC9784723AA}"/>
              </a:ext>
            </a:extLst>
          </p:cNvPr>
          <p:cNvSpPr>
            <a:spLocks noGrp="1"/>
          </p:cNvSpPr>
          <p:nvPr>
            <p:ph type="body" idx="28"/>
          </p:nvPr>
        </p:nvSpPr>
        <p:spPr>
          <a:xfrm>
            <a:off x="4796471" y="1800000"/>
            <a:ext cx="2592000" cy="4365850"/>
          </a:xfrm>
          <a:prstGeom prst="roundRect">
            <a:avLst>
              <a:gd name="adj" fmla="val 3537"/>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9" name="text 2">
            <a:extLst>
              <a:ext uri="{FF2B5EF4-FFF2-40B4-BE49-F238E27FC236}">
                <a16:creationId xmlns:a16="http://schemas.microsoft.com/office/drawing/2014/main" id="{D98F8A56-7066-25D8-2F77-451B1ACD82A4}"/>
              </a:ext>
            </a:extLst>
          </p:cNvPr>
          <p:cNvSpPr>
            <a:spLocks noGrp="1"/>
          </p:cNvSpPr>
          <p:nvPr>
            <p:ph type="body" sz="quarter" idx="25"/>
          </p:nvPr>
        </p:nvSpPr>
        <p:spPr>
          <a:xfrm>
            <a:off x="4796471" y="3816000"/>
            <a:ext cx="2592000" cy="2349849"/>
          </a:xfrm>
        </p:spPr>
        <p:txBody>
          <a:bodyPr lIns="216000" rIns="216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lnSpc>
                <a:spcPts val="1600"/>
              </a:lnSpc>
              <a:spcBef>
                <a:spcPts val="300"/>
              </a:spcBef>
              <a:defRPr sz="1200"/>
            </a:lvl9pPr>
          </a:lstStyle>
          <a:p>
            <a:pPr lvl="0"/>
            <a:r>
              <a:rPr lang="de-DE"/>
              <a:t>Mastertextformat bearbeiten</a:t>
            </a:r>
          </a:p>
        </p:txBody>
      </p:sp>
      <p:sp>
        <p:nvSpPr>
          <p:cNvPr id="10" name="picture 2">
            <a:extLst>
              <a:ext uri="{FF2B5EF4-FFF2-40B4-BE49-F238E27FC236}">
                <a16:creationId xmlns:a16="http://schemas.microsoft.com/office/drawing/2014/main" id="{3715199D-377B-FA62-E7B3-702B7884ADB3}"/>
              </a:ext>
            </a:extLst>
          </p:cNvPr>
          <p:cNvSpPr>
            <a:spLocks noGrp="1"/>
          </p:cNvSpPr>
          <p:nvPr>
            <p:ph type="pic" sz="quarter" idx="22"/>
          </p:nvPr>
        </p:nvSpPr>
        <p:spPr>
          <a:xfrm>
            <a:off x="4796471" y="1800000"/>
            <a:ext cx="2592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14" name="subhead 1">
            <a:extLst>
              <a:ext uri="{FF2B5EF4-FFF2-40B4-BE49-F238E27FC236}">
                <a16:creationId xmlns:a16="http://schemas.microsoft.com/office/drawing/2014/main" id="{F894E306-E42F-EE9D-4444-845C802D0A10}"/>
              </a:ext>
            </a:extLst>
          </p:cNvPr>
          <p:cNvSpPr>
            <a:spLocks noGrp="1"/>
          </p:cNvSpPr>
          <p:nvPr>
            <p:ph type="body" idx="27"/>
          </p:nvPr>
        </p:nvSpPr>
        <p:spPr>
          <a:xfrm>
            <a:off x="1800000" y="1800000"/>
            <a:ext cx="2592000" cy="4365850"/>
          </a:xfrm>
          <a:prstGeom prst="roundRect">
            <a:avLst>
              <a:gd name="adj" fmla="val 3077"/>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15" name="text 1">
            <a:extLst>
              <a:ext uri="{FF2B5EF4-FFF2-40B4-BE49-F238E27FC236}">
                <a16:creationId xmlns:a16="http://schemas.microsoft.com/office/drawing/2014/main" id="{0B89ABEA-EA60-6815-5DE0-A3EB7DA83EA4}"/>
              </a:ext>
            </a:extLst>
          </p:cNvPr>
          <p:cNvSpPr>
            <a:spLocks noGrp="1"/>
          </p:cNvSpPr>
          <p:nvPr>
            <p:ph type="body" sz="quarter" idx="24"/>
          </p:nvPr>
        </p:nvSpPr>
        <p:spPr>
          <a:xfrm>
            <a:off x="1800000" y="3816000"/>
            <a:ext cx="2592000" cy="2349849"/>
          </a:xfrm>
        </p:spPr>
        <p:txBody>
          <a:bodyPr lIns="216000" rIns="216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lnSpc>
                <a:spcPts val="1600"/>
              </a:lnSpc>
              <a:spcBef>
                <a:spcPts val="300"/>
              </a:spcBef>
              <a:defRPr sz="1200"/>
            </a:lvl9pPr>
          </a:lstStyle>
          <a:p>
            <a:pPr lvl="0"/>
            <a:r>
              <a:rPr lang="de-DE"/>
              <a:t>Mastertextformat bearbeiten</a:t>
            </a:r>
          </a:p>
        </p:txBody>
      </p:sp>
      <p:sp>
        <p:nvSpPr>
          <p:cNvPr id="16" name="picture 1">
            <a:extLst>
              <a:ext uri="{FF2B5EF4-FFF2-40B4-BE49-F238E27FC236}">
                <a16:creationId xmlns:a16="http://schemas.microsoft.com/office/drawing/2014/main" id="{D1D9653F-F591-FAC4-709D-38A621C2562A}"/>
              </a:ext>
            </a:extLst>
          </p:cNvPr>
          <p:cNvSpPr>
            <a:spLocks noGrp="1"/>
          </p:cNvSpPr>
          <p:nvPr>
            <p:ph type="pic" sz="quarter" idx="21"/>
          </p:nvPr>
        </p:nvSpPr>
        <p:spPr>
          <a:xfrm>
            <a:off x="1800000" y="1800000"/>
            <a:ext cx="2592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dirty="0"/>
          </a:p>
        </p:txBody>
      </p:sp>
      <p:sp>
        <p:nvSpPr>
          <p:cNvPr id="86" name="title">
            <a:extLst>
              <a:ext uri="{FF2B5EF4-FFF2-40B4-BE49-F238E27FC236}">
                <a16:creationId xmlns:a16="http://schemas.microsoft.com/office/drawing/2014/main" id="{457734AF-380A-E58A-7517-29028ECFA967}"/>
              </a:ext>
            </a:extLst>
          </p:cNvPr>
          <p:cNvSpPr>
            <a:spLocks noGrp="1"/>
          </p:cNvSpPr>
          <p:nvPr>
            <p:ph type="title"/>
          </p:nvPr>
        </p:nvSpPr>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F01231DD-94D3-CA6C-C315-67E844A25D95}"/>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45452356"/>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  051 : 3 contacts">
    <p:spTree>
      <p:nvGrpSpPr>
        <p:cNvPr id="1" name=""/>
        <p:cNvGrpSpPr/>
        <p:nvPr/>
      </p:nvGrpSpPr>
      <p:grpSpPr>
        <a:xfrm>
          <a:off x="0" y="0"/>
          <a:ext cx="0" cy="0"/>
          <a:chOff x="0" y="0"/>
          <a:chExt cx="0" cy="0"/>
        </a:xfrm>
      </p:grpSpPr>
      <p:sp>
        <p:nvSpPr>
          <p:cNvPr id="2" name="shape">
            <a:extLst>
              <a:ext uri="{FF2B5EF4-FFF2-40B4-BE49-F238E27FC236}">
                <a16:creationId xmlns:a16="http://schemas.microsoft.com/office/drawing/2014/main" id="{32D5FD21-24FD-155A-3ADD-74927C6B098A}"/>
              </a:ext>
            </a:extLst>
          </p:cNvPr>
          <p:cNvSpPr/>
          <p:nvPr/>
        </p:nvSpPr>
        <p:spPr>
          <a:xfrm>
            <a:off x="4581342" y="0"/>
            <a:ext cx="7611926" cy="6859269"/>
          </a:xfrm>
          <a:custGeom>
            <a:avLst/>
            <a:gdLst>
              <a:gd name="connsiteX0" fmla="*/ 2412547 w 7611926"/>
              <a:gd name="connsiteY0" fmla="*/ 2053590 h 6859269"/>
              <a:gd name="connsiteX1" fmla="*/ 268787 w 7611926"/>
              <a:gd name="connsiteY1" fmla="*/ 3267710 h 6859269"/>
              <a:gd name="connsiteX2" fmla="*/ 1217477 w 7611926"/>
              <a:gd name="connsiteY2" fmla="*/ 6369050 h 6859269"/>
              <a:gd name="connsiteX3" fmla="*/ 1354637 w 7611926"/>
              <a:gd name="connsiteY3" fmla="*/ 6436360 h 6859269"/>
              <a:gd name="connsiteX4" fmla="*/ 1909627 w 7611926"/>
              <a:gd name="connsiteY4" fmla="*/ 6859270 h 6859269"/>
              <a:gd name="connsiteX5" fmla="*/ 7611927 w 7611926"/>
              <a:gd name="connsiteY5" fmla="*/ 6859270 h 6859269"/>
              <a:gd name="connsiteX6" fmla="*/ 7611927 w 7611926"/>
              <a:gd name="connsiteY6" fmla="*/ 0 h 6859269"/>
              <a:gd name="connsiteX7" fmla="*/ 4783638 w 7611926"/>
              <a:gd name="connsiteY7" fmla="*/ 0 h 6859269"/>
              <a:gd name="connsiteX8" fmla="*/ 2412547 w 7611926"/>
              <a:gd name="connsiteY8" fmla="*/ 2053590 h 6859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11926" h="6859269">
                <a:moveTo>
                  <a:pt x="2412547" y="2053590"/>
                </a:moveTo>
                <a:cubicBezTo>
                  <a:pt x="1551487" y="2009140"/>
                  <a:pt x="700587" y="2454910"/>
                  <a:pt x="268787" y="3267710"/>
                </a:cubicBezTo>
                <a:cubicBezTo>
                  <a:pt x="-325573" y="4385310"/>
                  <a:pt x="98607" y="5774690"/>
                  <a:pt x="1217477" y="6369050"/>
                </a:cubicBezTo>
                <a:cubicBezTo>
                  <a:pt x="1263197" y="6393180"/>
                  <a:pt x="1308917" y="6416040"/>
                  <a:pt x="1354637" y="6436360"/>
                </a:cubicBezTo>
                <a:cubicBezTo>
                  <a:pt x="1642927" y="6565900"/>
                  <a:pt x="1821997" y="6703060"/>
                  <a:pt x="1909627" y="6859270"/>
                </a:cubicBezTo>
                <a:lnTo>
                  <a:pt x="7611927" y="6859270"/>
                </a:lnTo>
                <a:lnTo>
                  <a:pt x="7611927" y="0"/>
                </a:lnTo>
                <a:lnTo>
                  <a:pt x="4783638" y="0"/>
                </a:lnTo>
                <a:cubicBezTo>
                  <a:pt x="4831897" y="1214120"/>
                  <a:pt x="4177847" y="2118360"/>
                  <a:pt x="2412547" y="2053590"/>
                </a:cubicBez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1" name="slide number">
            <a:extLst>
              <a:ext uri="{FF2B5EF4-FFF2-40B4-BE49-F238E27FC236}">
                <a16:creationId xmlns:a16="http://schemas.microsoft.com/office/drawing/2014/main" id="{C5255EC9-22C8-4873-6389-D880A370A1E3}"/>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2" name="footer">
            <a:extLst>
              <a:ext uri="{FF2B5EF4-FFF2-40B4-BE49-F238E27FC236}">
                <a16:creationId xmlns:a16="http://schemas.microsoft.com/office/drawing/2014/main" id="{6AC4CF78-E9FE-A7F7-A653-874905B45539}"/>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0A82CFE0-C725-9B9E-D77B-2B402604C532}"/>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93" name="content 3">
            <a:extLst>
              <a:ext uri="{FF2B5EF4-FFF2-40B4-BE49-F238E27FC236}">
                <a16:creationId xmlns:a16="http://schemas.microsoft.com/office/drawing/2014/main" id="{A621FD8A-0372-D7B0-7589-D502248B5856}"/>
              </a:ext>
            </a:extLst>
          </p:cNvPr>
          <p:cNvSpPr>
            <a:spLocks noGrp="1"/>
          </p:cNvSpPr>
          <p:nvPr>
            <p:ph type="body" idx="18"/>
          </p:nvPr>
        </p:nvSpPr>
        <p:spPr>
          <a:xfrm>
            <a:off x="7796825" y="1800000"/>
            <a:ext cx="2592000" cy="3600000"/>
          </a:xfrm>
          <a:prstGeom prst="roundRect">
            <a:avLst>
              <a:gd name="adj" fmla="val 2528"/>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sz="1200" dirty="0"/>
            </a:lvl1pPr>
          </a:lstStyle>
          <a:p>
            <a:pPr lvl="0"/>
            <a:r>
              <a:rPr lang="de-DE"/>
              <a:t>Mastertextformat bearbeiten</a:t>
            </a:r>
          </a:p>
        </p:txBody>
      </p:sp>
      <p:sp>
        <p:nvSpPr>
          <p:cNvPr id="92" name="content 2">
            <a:extLst>
              <a:ext uri="{FF2B5EF4-FFF2-40B4-BE49-F238E27FC236}">
                <a16:creationId xmlns:a16="http://schemas.microsoft.com/office/drawing/2014/main" id="{0C79B4B6-AEFC-E24C-2B7C-4FE3BD9C9C77}"/>
              </a:ext>
            </a:extLst>
          </p:cNvPr>
          <p:cNvSpPr>
            <a:spLocks noGrp="1"/>
          </p:cNvSpPr>
          <p:nvPr>
            <p:ph type="body" idx="17"/>
          </p:nvPr>
        </p:nvSpPr>
        <p:spPr>
          <a:xfrm>
            <a:off x="4800073" y="1800000"/>
            <a:ext cx="2592000" cy="3600000"/>
          </a:xfrm>
          <a:prstGeom prst="roundRect">
            <a:avLst>
              <a:gd name="adj" fmla="val 2803"/>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sz="1200" dirty="0"/>
            </a:lvl1pPr>
          </a:lstStyle>
          <a:p>
            <a:pPr lvl="0"/>
            <a:r>
              <a:rPr lang="de-DE"/>
              <a:t>Mastertextformat bearbeiten</a:t>
            </a:r>
          </a:p>
        </p:txBody>
      </p:sp>
      <p:sp>
        <p:nvSpPr>
          <p:cNvPr id="49" name="content 1">
            <a:extLst>
              <a:ext uri="{FF2B5EF4-FFF2-40B4-BE49-F238E27FC236}">
                <a16:creationId xmlns:a16="http://schemas.microsoft.com/office/drawing/2014/main" id="{0FE4903D-F047-A069-A010-0199438C5A44}"/>
              </a:ext>
            </a:extLst>
          </p:cNvPr>
          <p:cNvSpPr>
            <a:spLocks noGrp="1"/>
          </p:cNvSpPr>
          <p:nvPr>
            <p:ph type="body" idx="1"/>
          </p:nvPr>
        </p:nvSpPr>
        <p:spPr>
          <a:xfrm>
            <a:off x="1800000" y="1800000"/>
            <a:ext cx="2592000" cy="3600000"/>
          </a:xfrm>
          <a:prstGeom prst="roundRect">
            <a:avLst>
              <a:gd name="adj" fmla="val 2620"/>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sz="1200" dirty="0"/>
            </a:lvl1pPr>
          </a:lstStyle>
          <a:p>
            <a:pPr lvl="0"/>
            <a:r>
              <a:rPr lang="de-DE"/>
              <a:t>Mastertextformat bearbeiten</a:t>
            </a:r>
          </a:p>
        </p:txBody>
      </p:sp>
      <p:sp>
        <p:nvSpPr>
          <p:cNvPr id="86" name="title">
            <a:extLst>
              <a:ext uri="{FF2B5EF4-FFF2-40B4-BE49-F238E27FC236}">
                <a16:creationId xmlns:a16="http://schemas.microsoft.com/office/drawing/2014/main" id="{457734AF-380A-E58A-7517-29028ECFA967}"/>
              </a:ext>
            </a:extLst>
          </p:cNvPr>
          <p:cNvSpPr>
            <a:spLocks noGrp="1"/>
          </p:cNvSpPr>
          <p:nvPr>
            <p:ph type="title"/>
          </p:nvPr>
        </p:nvSpPr>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F01231DD-94D3-CA6C-C315-67E844A25D95}"/>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161078368"/>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  051 : 4 contacts">
    <p:spTree>
      <p:nvGrpSpPr>
        <p:cNvPr id="1" name=""/>
        <p:cNvGrpSpPr/>
        <p:nvPr/>
      </p:nvGrpSpPr>
      <p:grpSpPr>
        <a:xfrm>
          <a:off x="0" y="0"/>
          <a:ext cx="0" cy="0"/>
          <a:chOff x="0" y="0"/>
          <a:chExt cx="0" cy="0"/>
        </a:xfrm>
      </p:grpSpPr>
      <p:sp>
        <p:nvSpPr>
          <p:cNvPr id="10" name="shape">
            <a:extLst>
              <a:ext uri="{FF2B5EF4-FFF2-40B4-BE49-F238E27FC236}">
                <a16:creationId xmlns:a16="http://schemas.microsoft.com/office/drawing/2014/main" id="{0F2B0FAA-1F90-878F-C224-5C996030162A}"/>
              </a:ext>
            </a:extLst>
          </p:cNvPr>
          <p:cNvSpPr/>
          <p:nvPr/>
        </p:nvSpPr>
        <p:spPr>
          <a:xfrm>
            <a:off x="4581342" y="0"/>
            <a:ext cx="7611926" cy="6859269"/>
          </a:xfrm>
          <a:custGeom>
            <a:avLst/>
            <a:gdLst>
              <a:gd name="connsiteX0" fmla="*/ 2412547 w 7611926"/>
              <a:gd name="connsiteY0" fmla="*/ 2053590 h 6859269"/>
              <a:gd name="connsiteX1" fmla="*/ 268787 w 7611926"/>
              <a:gd name="connsiteY1" fmla="*/ 3267710 h 6859269"/>
              <a:gd name="connsiteX2" fmla="*/ 1217477 w 7611926"/>
              <a:gd name="connsiteY2" fmla="*/ 6369050 h 6859269"/>
              <a:gd name="connsiteX3" fmla="*/ 1354637 w 7611926"/>
              <a:gd name="connsiteY3" fmla="*/ 6436360 h 6859269"/>
              <a:gd name="connsiteX4" fmla="*/ 1909627 w 7611926"/>
              <a:gd name="connsiteY4" fmla="*/ 6859270 h 6859269"/>
              <a:gd name="connsiteX5" fmla="*/ 7611927 w 7611926"/>
              <a:gd name="connsiteY5" fmla="*/ 6859270 h 6859269"/>
              <a:gd name="connsiteX6" fmla="*/ 7611927 w 7611926"/>
              <a:gd name="connsiteY6" fmla="*/ 0 h 6859269"/>
              <a:gd name="connsiteX7" fmla="*/ 4783638 w 7611926"/>
              <a:gd name="connsiteY7" fmla="*/ 0 h 6859269"/>
              <a:gd name="connsiteX8" fmla="*/ 2412547 w 7611926"/>
              <a:gd name="connsiteY8" fmla="*/ 2053590 h 6859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11926" h="6859269">
                <a:moveTo>
                  <a:pt x="2412547" y="2053590"/>
                </a:moveTo>
                <a:cubicBezTo>
                  <a:pt x="1551487" y="2009140"/>
                  <a:pt x="700587" y="2454910"/>
                  <a:pt x="268787" y="3267710"/>
                </a:cubicBezTo>
                <a:cubicBezTo>
                  <a:pt x="-325573" y="4385310"/>
                  <a:pt x="98607" y="5774690"/>
                  <a:pt x="1217477" y="6369050"/>
                </a:cubicBezTo>
                <a:cubicBezTo>
                  <a:pt x="1263197" y="6393180"/>
                  <a:pt x="1308917" y="6416040"/>
                  <a:pt x="1354637" y="6436360"/>
                </a:cubicBezTo>
                <a:cubicBezTo>
                  <a:pt x="1642927" y="6565900"/>
                  <a:pt x="1821997" y="6703060"/>
                  <a:pt x="1909627" y="6859270"/>
                </a:cubicBezTo>
                <a:lnTo>
                  <a:pt x="7611927" y="6859270"/>
                </a:lnTo>
                <a:lnTo>
                  <a:pt x="7611927" y="0"/>
                </a:lnTo>
                <a:lnTo>
                  <a:pt x="4783638" y="0"/>
                </a:lnTo>
                <a:cubicBezTo>
                  <a:pt x="4831897" y="1214120"/>
                  <a:pt x="4177847" y="2118360"/>
                  <a:pt x="2412547" y="2053590"/>
                </a:cubicBez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5" name="slide number">
            <a:extLst>
              <a:ext uri="{FF2B5EF4-FFF2-40B4-BE49-F238E27FC236}">
                <a16:creationId xmlns:a16="http://schemas.microsoft.com/office/drawing/2014/main" id="{14C04783-6A3A-7B84-7DFE-6D7F132B89F9}"/>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6" name="footer">
            <a:extLst>
              <a:ext uri="{FF2B5EF4-FFF2-40B4-BE49-F238E27FC236}">
                <a16:creationId xmlns:a16="http://schemas.microsoft.com/office/drawing/2014/main" id="{DF73FA19-E532-6866-AFF8-B3DB8E3F8EB4}"/>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7" name="date">
            <a:extLst>
              <a:ext uri="{FF2B5EF4-FFF2-40B4-BE49-F238E27FC236}">
                <a16:creationId xmlns:a16="http://schemas.microsoft.com/office/drawing/2014/main" id="{84F89B70-19D6-ED74-B150-8BF636A09B8F}"/>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 name="content 4">
            <a:extLst>
              <a:ext uri="{FF2B5EF4-FFF2-40B4-BE49-F238E27FC236}">
                <a16:creationId xmlns:a16="http://schemas.microsoft.com/office/drawing/2014/main" id="{37D92A0D-BC40-1DE6-AAC7-B24DC5DBD76D}"/>
              </a:ext>
            </a:extLst>
          </p:cNvPr>
          <p:cNvSpPr>
            <a:spLocks noGrp="1"/>
          </p:cNvSpPr>
          <p:nvPr>
            <p:ph type="body" idx="18"/>
          </p:nvPr>
        </p:nvSpPr>
        <p:spPr>
          <a:xfrm>
            <a:off x="8837142" y="1800000"/>
            <a:ext cx="2160000" cy="4102194"/>
          </a:xfrm>
          <a:prstGeom prst="roundRect">
            <a:avLst>
              <a:gd name="adj" fmla="val 2528"/>
            </a:avLst>
          </a:prstGeom>
          <a:solidFill>
            <a:schemeClr val="bg1"/>
          </a:solidFill>
          <a:effectLst>
            <a:outerShdw blurRad="63500" algn="ctr" rotWithShape="0">
              <a:schemeClr val="accent4">
                <a:alpha val="50000"/>
              </a:schemeClr>
            </a:outerShdw>
          </a:effectLst>
        </p:spPr>
        <p:txBody>
          <a:bodyPr vert="horz" lIns="216000" tIns="396000" rIns="216000" bIns="72000" rtlCol="0">
            <a:noAutofit/>
          </a:bodyPr>
          <a:lstStyle>
            <a:lvl1pPr>
              <a:defRPr lang="en-US" sz="1200" dirty="0"/>
            </a:lvl1pPr>
          </a:lstStyle>
          <a:p>
            <a:pPr lvl="0"/>
            <a:r>
              <a:rPr lang="de-DE"/>
              <a:t>Mastertextformat bearbeiten</a:t>
            </a:r>
          </a:p>
        </p:txBody>
      </p:sp>
      <p:sp>
        <p:nvSpPr>
          <p:cNvPr id="3" name="content 3">
            <a:extLst>
              <a:ext uri="{FF2B5EF4-FFF2-40B4-BE49-F238E27FC236}">
                <a16:creationId xmlns:a16="http://schemas.microsoft.com/office/drawing/2014/main" id="{31561AB9-AA76-A272-34C9-BD04088525FA}"/>
              </a:ext>
            </a:extLst>
          </p:cNvPr>
          <p:cNvSpPr>
            <a:spLocks noGrp="1"/>
          </p:cNvSpPr>
          <p:nvPr>
            <p:ph type="body" idx="17"/>
          </p:nvPr>
        </p:nvSpPr>
        <p:spPr>
          <a:xfrm>
            <a:off x="6287997" y="1800000"/>
            <a:ext cx="2160000" cy="4102194"/>
          </a:xfrm>
          <a:prstGeom prst="roundRect">
            <a:avLst>
              <a:gd name="adj" fmla="val 2803"/>
            </a:avLst>
          </a:prstGeom>
          <a:solidFill>
            <a:schemeClr val="bg1"/>
          </a:solidFill>
          <a:effectLst>
            <a:outerShdw blurRad="63500" algn="ctr" rotWithShape="0">
              <a:schemeClr val="accent4">
                <a:alpha val="50000"/>
              </a:schemeClr>
            </a:outerShdw>
          </a:effectLst>
        </p:spPr>
        <p:txBody>
          <a:bodyPr vert="horz" lIns="216000" tIns="396000" rIns="216000" bIns="72000" rtlCol="0">
            <a:noAutofit/>
          </a:bodyPr>
          <a:lstStyle>
            <a:lvl1pPr>
              <a:defRPr lang="en-US" sz="1200" dirty="0"/>
            </a:lvl1pPr>
          </a:lstStyle>
          <a:p>
            <a:pPr lvl="0"/>
            <a:r>
              <a:rPr lang="de-DE"/>
              <a:t>Mastertextformat bearbeiten</a:t>
            </a:r>
          </a:p>
        </p:txBody>
      </p:sp>
      <p:sp>
        <p:nvSpPr>
          <p:cNvPr id="7" name="content 2">
            <a:extLst>
              <a:ext uri="{FF2B5EF4-FFF2-40B4-BE49-F238E27FC236}">
                <a16:creationId xmlns:a16="http://schemas.microsoft.com/office/drawing/2014/main" id="{D51B554E-4422-0741-9FCD-C8C36F5FDF31}"/>
              </a:ext>
            </a:extLst>
          </p:cNvPr>
          <p:cNvSpPr>
            <a:spLocks noGrp="1"/>
          </p:cNvSpPr>
          <p:nvPr>
            <p:ph type="body" idx="1"/>
          </p:nvPr>
        </p:nvSpPr>
        <p:spPr>
          <a:xfrm>
            <a:off x="3738851" y="1800000"/>
            <a:ext cx="2160000" cy="4102194"/>
          </a:xfrm>
          <a:prstGeom prst="roundRect">
            <a:avLst>
              <a:gd name="adj" fmla="val 2620"/>
            </a:avLst>
          </a:prstGeom>
          <a:solidFill>
            <a:schemeClr val="bg1"/>
          </a:solidFill>
          <a:effectLst>
            <a:outerShdw blurRad="63500" algn="ctr" rotWithShape="0">
              <a:schemeClr val="accent4">
                <a:alpha val="50000"/>
              </a:schemeClr>
            </a:outerShdw>
          </a:effectLst>
        </p:spPr>
        <p:txBody>
          <a:bodyPr vert="horz" lIns="216000" tIns="396000" rIns="216000" bIns="72000" rtlCol="0">
            <a:noAutofit/>
          </a:bodyPr>
          <a:lstStyle>
            <a:lvl1pPr>
              <a:defRPr lang="en-US" sz="1200" dirty="0"/>
            </a:lvl1pPr>
          </a:lstStyle>
          <a:p>
            <a:pPr lvl="0"/>
            <a:r>
              <a:rPr lang="de-DE"/>
              <a:t>Mastertextformat bearbeiten</a:t>
            </a:r>
          </a:p>
        </p:txBody>
      </p:sp>
      <p:sp>
        <p:nvSpPr>
          <p:cNvPr id="9" name="content 1">
            <a:extLst>
              <a:ext uri="{FF2B5EF4-FFF2-40B4-BE49-F238E27FC236}">
                <a16:creationId xmlns:a16="http://schemas.microsoft.com/office/drawing/2014/main" id="{35413B2B-04BF-8FB5-7DE3-BDA7E84DA6A6}"/>
              </a:ext>
            </a:extLst>
          </p:cNvPr>
          <p:cNvSpPr>
            <a:spLocks noGrp="1"/>
          </p:cNvSpPr>
          <p:nvPr>
            <p:ph type="body" idx="19"/>
          </p:nvPr>
        </p:nvSpPr>
        <p:spPr>
          <a:xfrm>
            <a:off x="1189705" y="1800000"/>
            <a:ext cx="2160000" cy="4102194"/>
          </a:xfrm>
          <a:prstGeom prst="roundRect">
            <a:avLst>
              <a:gd name="adj" fmla="val 2620"/>
            </a:avLst>
          </a:prstGeom>
          <a:solidFill>
            <a:schemeClr val="bg1"/>
          </a:solidFill>
          <a:effectLst>
            <a:outerShdw blurRad="63500" algn="ctr" rotWithShape="0">
              <a:schemeClr val="accent4">
                <a:alpha val="50000"/>
              </a:schemeClr>
            </a:outerShdw>
          </a:effectLst>
        </p:spPr>
        <p:txBody>
          <a:bodyPr vert="horz" lIns="216000" tIns="396000" rIns="216000" bIns="72000" rtlCol="0">
            <a:noAutofit/>
          </a:bodyPr>
          <a:lstStyle>
            <a:lvl1pPr>
              <a:defRPr lang="en-US" sz="1200" dirty="0"/>
            </a:lvl1pPr>
          </a:lstStyle>
          <a:p>
            <a:pPr lvl="0"/>
            <a:r>
              <a:rPr lang="de-DE"/>
              <a:t>Mastertextformat bearbeiten</a:t>
            </a:r>
          </a:p>
        </p:txBody>
      </p:sp>
      <p:sp>
        <p:nvSpPr>
          <p:cNvPr id="86" name="title">
            <a:extLst>
              <a:ext uri="{FF2B5EF4-FFF2-40B4-BE49-F238E27FC236}">
                <a16:creationId xmlns:a16="http://schemas.microsoft.com/office/drawing/2014/main" id="{457734AF-380A-E58A-7517-29028ECFA967}"/>
              </a:ext>
            </a:extLst>
          </p:cNvPr>
          <p:cNvSpPr>
            <a:spLocks noGrp="1"/>
          </p:cNvSpPr>
          <p:nvPr>
            <p:ph type="title"/>
          </p:nvPr>
        </p:nvSpPr>
        <p:spPr/>
        <p:txBody>
          <a:bodyPr vert="horz"/>
          <a:lstStyle/>
          <a:p>
            <a:r>
              <a:rPr lang="de-DE"/>
              <a:t>Mastertitelformat bearbeiten</a:t>
            </a:r>
            <a:endParaRPr lang="en-US" dirty="0"/>
          </a:p>
        </p:txBody>
      </p:sp>
      <p:sp>
        <p:nvSpPr>
          <p:cNvPr id="13" name="navigation">
            <a:extLst>
              <a:ext uri="{FF2B5EF4-FFF2-40B4-BE49-F238E27FC236}">
                <a16:creationId xmlns:a16="http://schemas.microsoft.com/office/drawing/2014/main" id="{FC2E142D-7612-701D-37F0-CDEF803D6F68}"/>
              </a:ext>
            </a:extLst>
          </p:cNvPr>
          <p:cNvSpPr>
            <a:spLocks noGrp="1"/>
          </p:cNvSpPr>
          <p:nvPr>
            <p:ph type="body" sz="quarter" idx="14"/>
          </p:nvPr>
        </p:nvSpPr>
        <p:spPr>
          <a:xfrm>
            <a:off x="576000" y="396000"/>
            <a:ext cx="7164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291160034"/>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  052 : endpage : contacts">
    <p:spTree>
      <p:nvGrpSpPr>
        <p:cNvPr id="1" name=""/>
        <p:cNvGrpSpPr/>
        <p:nvPr/>
      </p:nvGrpSpPr>
      <p:grpSpPr>
        <a:xfrm>
          <a:off x="0" y="0"/>
          <a:ext cx="0" cy="0"/>
          <a:chOff x="0" y="0"/>
          <a:chExt cx="0" cy="0"/>
        </a:xfrm>
      </p:grpSpPr>
      <p:sp>
        <p:nvSpPr>
          <p:cNvPr id="10" name="shape">
            <a:extLst>
              <a:ext uri="{FF2B5EF4-FFF2-40B4-BE49-F238E27FC236}">
                <a16:creationId xmlns:a16="http://schemas.microsoft.com/office/drawing/2014/main" id="{1A6CF203-18B4-1496-271C-29A7721D6A2C}"/>
              </a:ext>
            </a:extLst>
          </p:cNvPr>
          <p:cNvSpPr/>
          <p:nvPr/>
        </p:nvSpPr>
        <p:spPr>
          <a:xfrm>
            <a:off x="3798950" y="0"/>
            <a:ext cx="8393049" cy="6858000"/>
          </a:xfrm>
          <a:custGeom>
            <a:avLst/>
            <a:gdLst>
              <a:gd name="connsiteX0" fmla="*/ 8393049 w 8393049"/>
              <a:gd name="connsiteY0" fmla="*/ 0 h 6858000"/>
              <a:gd name="connsiteX1" fmla="*/ 31369 w 8393049"/>
              <a:gd name="connsiteY1" fmla="*/ 0 h 6858000"/>
              <a:gd name="connsiteX2" fmla="*/ 88519 w 8393049"/>
              <a:gd name="connsiteY2" fmla="*/ 1135380 h 6858000"/>
              <a:gd name="connsiteX3" fmla="*/ 3645790 w 8393049"/>
              <a:gd name="connsiteY3" fmla="*/ 3272790 h 6858000"/>
              <a:gd name="connsiteX4" fmla="*/ 3702940 w 8393049"/>
              <a:gd name="connsiteY4" fmla="*/ 3257550 h 6858000"/>
              <a:gd name="connsiteX5" fmla="*/ 3702940 w 8393049"/>
              <a:gd name="connsiteY5" fmla="*/ 3257550 h 6858000"/>
              <a:gd name="connsiteX6" fmla="*/ 5418709 w 8393049"/>
              <a:gd name="connsiteY6" fmla="*/ 4372610 h 6858000"/>
              <a:gd name="connsiteX7" fmla="*/ 5418709 w 8393049"/>
              <a:gd name="connsiteY7" fmla="*/ 4372610 h 6858000"/>
              <a:gd name="connsiteX8" fmla="*/ 7896480 w 8393049"/>
              <a:gd name="connsiteY8" fmla="*/ 6858000 h 6858000"/>
              <a:gd name="connsiteX9" fmla="*/ 8393049 w 8393049"/>
              <a:gd name="connsiteY9" fmla="*/ 6858000 h 6858000"/>
              <a:gd name="connsiteX10" fmla="*/ 8393049 w 8393049"/>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93049" h="6858000">
                <a:moveTo>
                  <a:pt x="8393049" y="0"/>
                </a:moveTo>
                <a:lnTo>
                  <a:pt x="31369" y="0"/>
                </a:lnTo>
                <a:cubicBezTo>
                  <a:pt x="-23241" y="368300"/>
                  <a:pt x="-8001" y="751840"/>
                  <a:pt x="88519" y="1135380"/>
                </a:cubicBezTo>
                <a:cubicBezTo>
                  <a:pt x="480949" y="2707640"/>
                  <a:pt x="2073529" y="3665220"/>
                  <a:pt x="3645790" y="3272790"/>
                </a:cubicBezTo>
                <a:cubicBezTo>
                  <a:pt x="3664840" y="3267710"/>
                  <a:pt x="3683890" y="3262630"/>
                  <a:pt x="3702940" y="3257550"/>
                </a:cubicBezTo>
                <a:lnTo>
                  <a:pt x="3702940" y="3257550"/>
                </a:lnTo>
                <a:cubicBezTo>
                  <a:pt x="4536059" y="3031490"/>
                  <a:pt x="5032630" y="3253740"/>
                  <a:pt x="5418709" y="4372610"/>
                </a:cubicBezTo>
                <a:lnTo>
                  <a:pt x="5418709" y="4372610"/>
                </a:lnTo>
                <a:cubicBezTo>
                  <a:pt x="5830190" y="5568950"/>
                  <a:pt x="6764909" y="6463030"/>
                  <a:pt x="7896480" y="6858000"/>
                </a:cubicBezTo>
                <a:lnTo>
                  <a:pt x="8393049" y="6858000"/>
                </a:lnTo>
                <a:lnTo>
                  <a:pt x="8393049" y="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6" name="slide number">
            <a:extLst>
              <a:ext uri="{FF2B5EF4-FFF2-40B4-BE49-F238E27FC236}">
                <a16:creationId xmlns:a16="http://schemas.microsoft.com/office/drawing/2014/main" id="{73C52852-2C21-5071-9792-38CB9A92BA53}"/>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1" name="footer">
            <a:extLst>
              <a:ext uri="{FF2B5EF4-FFF2-40B4-BE49-F238E27FC236}">
                <a16:creationId xmlns:a16="http://schemas.microsoft.com/office/drawing/2014/main" id="{8C03519E-0BC7-B695-C2CA-A1A0D4EC3AD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2" name="date">
            <a:extLst>
              <a:ext uri="{FF2B5EF4-FFF2-40B4-BE49-F238E27FC236}">
                <a16:creationId xmlns:a16="http://schemas.microsoft.com/office/drawing/2014/main" id="{F5A97147-F148-0CF2-2404-107B345FD56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 name="content 3">
            <a:extLst>
              <a:ext uri="{FF2B5EF4-FFF2-40B4-BE49-F238E27FC236}">
                <a16:creationId xmlns:a16="http://schemas.microsoft.com/office/drawing/2014/main" id="{18752286-8B19-A943-85AE-D8EA18499432}"/>
              </a:ext>
            </a:extLst>
          </p:cNvPr>
          <p:cNvSpPr>
            <a:spLocks noGrp="1"/>
          </p:cNvSpPr>
          <p:nvPr>
            <p:ph type="body" idx="15"/>
          </p:nvPr>
        </p:nvSpPr>
        <p:spPr>
          <a:xfrm>
            <a:off x="6919430"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7" name="content 2">
            <a:extLst>
              <a:ext uri="{FF2B5EF4-FFF2-40B4-BE49-F238E27FC236}">
                <a16:creationId xmlns:a16="http://schemas.microsoft.com/office/drawing/2014/main" id="{EF9134AD-568F-4F44-0401-0B1900684669}"/>
              </a:ext>
            </a:extLst>
          </p:cNvPr>
          <p:cNvSpPr>
            <a:spLocks noGrp="1"/>
          </p:cNvSpPr>
          <p:nvPr>
            <p:ph type="body" idx="14"/>
          </p:nvPr>
        </p:nvSpPr>
        <p:spPr>
          <a:xfrm>
            <a:off x="3729715"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9" name="content 1">
            <a:extLst>
              <a:ext uri="{FF2B5EF4-FFF2-40B4-BE49-F238E27FC236}">
                <a16:creationId xmlns:a16="http://schemas.microsoft.com/office/drawing/2014/main" id="{9BE9AB25-3402-897C-7102-5B25952D6A3F}"/>
              </a:ext>
            </a:extLst>
          </p:cNvPr>
          <p:cNvSpPr>
            <a:spLocks noGrp="1"/>
          </p:cNvSpPr>
          <p:nvPr>
            <p:ph type="body" idx="1"/>
          </p:nvPr>
        </p:nvSpPr>
        <p:spPr>
          <a:xfrm>
            <a:off x="540000"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57" name="title">
            <a:extLst>
              <a:ext uri="{FF2B5EF4-FFF2-40B4-BE49-F238E27FC236}">
                <a16:creationId xmlns:a16="http://schemas.microsoft.com/office/drawing/2014/main" id="{2B2872E1-DDB4-35E2-92B5-17EB99D52185}"/>
              </a:ext>
            </a:extLst>
          </p:cNvPr>
          <p:cNvSpPr>
            <a:spLocks noGrp="1"/>
          </p:cNvSpPr>
          <p:nvPr>
            <p:ph type="body" idx="13"/>
          </p:nvPr>
        </p:nvSpPr>
        <p:spPr>
          <a:xfrm>
            <a:off x="540000" y="612000"/>
            <a:ext cx="9264442" cy="2520000"/>
          </a:xfrm>
        </p:spPr>
        <p:txBody>
          <a:bodyPr anchor="b"/>
          <a:lstStyle>
            <a:lvl1pPr marL="0" indent="0">
              <a:lnSpc>
                <a:spcPts val="6200"/>
              </a:lnSpc>
              <a:buNone/>
              <a:defRPr sz="6000" b="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Tree>
    <p:extLst>
      <p:ext uri="{BB962C8B-B14F-4D97-AF65-F5344CB8AC3E}">
        <p14:creationId xmlns:p14="http://schemas.microsoft.com/office/powerpoint/2010/main" val="74421396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  006 : 6 contents :">
    <p:spTree>
      <p:nvGrpSpPr>
        <p:cNvPr id="1" name=""/>
        <p:cNvGrpSpPr/>
        <p:nvPr/>
      </p:nvGrpSpPr>
      <p:grpSpPr>
        <a:xfrm>
          <a:off x="0" y="0"/>
          <a:ext cx="0" cy="0"/>
          <a:chOff x="0" y="0"/>
          <a:chExt cx="0" cy="0"/>
        </a:xfrm>
      </p:grpSpPr>
      <p:sp>
        <p:nvSpPr>
          <p:cNvPr id="12" name="slide number">
            <a:extLst>
              <a:ext uri="{FF2B5EF4-FFF2-40B4-BE49-F238E27FC236}">
                <a16:creationId xmlns:a16="http://schemas.microsoft.com/office/drawing/2014/main" id="{CF0F75B6-3EDE-F843-4662-8A1F50C1840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13" name="footer">
            <a:extLst>
              <a:ext uri="{FF2B5EF4-FFF2-40B4-BE49-F238E27FC236}">
                <a16:creationId xmlns:a16="http://schemas.microsoft.com/office/drawing/2014/main" id="{847B67F7-92A3-77BE-E39C-D6653DB0D193}"/>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14" name="date">
            <a:extLst>
              <a:ext uri="{FF2B5EF4-FFF2-40B4-BE49-F238E27FC236}">
                <a16:creationId xmlns:a16="http://schemas.microsoft.com/office/drawing/2014/main" id="{8A607CBA-1A2F-48DC-062D-E74D1128CE4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9" name="content 6">
            <a:extLst>
              <a:ext uri="{FF2B5EF4-FFF2-40B4-BE49-F238E27FC236}">
                <a16:creationId xmlns:a16="http://schemas.microsoft.com/office/drawing/2014/main" id="{893D58FE-0196-E823-0665-65C00CFB1847}"/>
              </a:ext>
            </a:extLst>
          </p:cNvPr>
          <p:cNvSpPr>
            <a:spLocks noGrp="1"/>
          </p:cNvSpPr>
          <p:nvPr>
            <p:ph sz="quarter" idx="27"/>
          </p:nvPr>
        </p:nvSpPr>
        <p:spPr>
          <a:xfrm>
            <a:off x="9900618" y="1476000"/>
            <a:ext cx="1728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content 5">
            <a:extLst>
              <a:ext uri="{FF2B5EF4-FFF2-40B4-BE49-F238E27FC236}">
                <a16:creationId xmlns:a16="http://schemas.microsoft.com/office/drawing/2014/main" id="{2A0D5407-F643-F9E8-6739-DC94AEDEB3C9}"/>
              </a:ext>
            </a:extLst>
          </p:cNvPr>
          <p:cNvSpPr>
            <a:spLocks noGrp="1"/>
          </p:cNvSpPr>
          <p:nvPr>
            <p:ph sz="quarter" idx="26"/>
          </p:nvPr>
        </p:nvSpPr>
        <p:spPr>
          <a:xfrm>
            <a:off x="8028496" y="1476000"/>
            <a:ext cx="1728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content 4">
            <a:extLst>
              <a:ext uri="{FF2B5EF4-FFF2-40B4-BE49-F238E27FC236}">
                <a16:creationId xmlns:a16="http://schemas.microsoft.com/office/drawing/2014/main" id="{B5886103-0D8E-5D01-3B87-1FDDA2E05BE4}"/>
              </a:ext>
            </a:extLst>
          </p:cNvPr>
          <p:cNvSpPr>
            <a:spLocks noGrp="1"/>
          </p:cNvSpPr>
          <p:nvPr>
            <p:ph sz="quarter" idx="25"/>
          </p:nvPr>
        </p:nvSpPr>
        <p:spPr>
          <a:xfrm>
            <a:off x="6156372" y="1476000"/>
            <a:ext cx="1728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4284248" y="1476000"/>
            <a:ext cx="1728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2412124" y="1476000"/>
            <a:ext cx="1728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76000"/>
            <a:ext cx="1728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618" y="622301"/>
            <a:ext cx="11088000" cy="648000"/>
          </a:xfrm>
        </p:spPr>
        <p:txBody>
          <a:bodyPr vert="horz"/>
          <a:lstStyle/>
          <a:p>
            <a:r>
              <a:rPr lang="de-DE"/>
              <a:t>Mastertitelformat bearbeiten</a:t>
            </a:r>
            <a:endParaRPr lang="en-US" dirty="0"/>
          </a:p>
        </p:txBody>
      </p:sp>
      <p:sp>
        <p:nvSpPr>
          <p:cNvPr id="8" name="navigation">
            <a:extLst>
              <a:ext uri="{FF2B5EF4-FFF2-40B4-BE49-F238E27FC236}">
                <a16:creationId xmlns:a16="http://schemas.microsoft.com/office/drawing/2014/main" id="{5F2144B7-05FA-9A39-1950-AAFC1FABEDCE}"/>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497391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   053 : chart : sourc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EA4E6AC3-01D5-9C31-52D4-0BB693B8DABC}"/>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GB" smtClean="0"/>
              <a:pPr/>
              <a:t>‹Nr.›</a:t>
            </a:fld>
            <a:endParaRPr lang="en-GB" dirty="0"/>
          </a:p>
        </p:txBody>
      </p:sp>
      <p:sp>
        <p:nvSpPr>
          <p:cNvPr id="5" name="footer">
            <a:extLst>
              <a:ext uri="{FF2B5EF4-FFF2-40B4-BE49-F238E27FC236}">
                <a16:creationId xmlns:a16="http://schemas.microsoft.com/office/drawing/2014/main" id="{9459A81C-BC10-1FFD-D1F6-FB6EC1B07A71}"/>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1"/>
                </a:solidFill>
              </a:defRPr>
            </a:lvl1pPr>
          </a:lstStyle>
          <a:p>
            <a:r>
              <a:rPr lang="en-GB"/>
              <a:t>valantic layout samples Route B</a:t>
            </a:r>
            <a:endParaRPr lang="nl-NL" dirty="0"/>
          </a:p>
        </p:txBody>
      </p:sp>
      <p:sp>
        <p:nvSpPr>
          <p:cNvPr id="6" name="date">
            <a:extLst>
              <a:ext uri="{FF2B5EF4-FFF2-40B4-BE49-F238E27FC236}">
                <a16:creationId xmlns:a16="http://schemas.microsoft.com/office/drawing/2014/main" id="{2495416B-3F05-B437-A185-4B84C57A4D03}"/>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9" name="source">
            <a:extLst>
              <a:ext uri="{FF2B5EF4-FFF2-40B4-BE49-F238E27FC236}">
                <a16:creationId xmlns:a16="http://schemas.microsoft.com/office/drawing/2014/main" id="{380974C9-7D7B-8C1A-9F87-EA6BDB8230AA}"/>
              </a:ext>
            </a:extLst>
          </p:cNvPr>
          <p:cNvSpPr>
            <a:spLocks noGrp="1"/>
          </p:cNvSpPr>
          <p:nvPr>
            <p:ph type="body" idx="1"/>
          </p:nvPr>
        </p:nvSpPr>
        <p:spPr>
          <a:xfrm>
            <a:off x="539999" y="5832000"/>
            <a:ext cx="11088000" cy="360000"/>
          </a:xfrm>
        </p:spPr>
        <p:txBody>
          <a:bodyPr anchor="b"/>
          <a:lstStyle>
            <a:lvl1pPr marL="0" indent="0">
              <a:lnSpc>
                <a:spcPts val="900"/>
              </a:lnSpc>
              <a:spcBef>
                <a:spcPts val="0"/>
              </a:spcBef>
              <a:spcAft>
                <a:spcPts val="0"/>
              </a:spcAft>
              <a:buNone/>
              <a:defRPr sz="9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 name="chart">
            <a:extLst>
              <a:ext uri="{FF2B5EF4-FFF2-40B4-BE49-F238E27FC236}">
                <a16:creationId xmlns:a16="http://schemas.microsoft.com/office/drawing/2014/main" id="{0E7FF249-AE2B-F99D-1704-29F12F21612F}"/>
              </a:ext>
            </a:extLst>
          </p:cNvPr>
          <p:cNvSpPr>
            <a:spLocks noGrp="1"/>
          </p:cNvSpPr>
          <p:nvPr>
            <p:ph type="chart" sz="quarter" idx="39"/>
          </p:nvPr>
        </p:nvSpPr>
        <p:spPr>
          <a:xfrm>
            <a:off x="540000" y="1980000"/>
            <a:ext cx="11088000" cy="3780000"/>
          </a:xfrm>
        </p:spPr>
        <p:txBody>
          <a:bodyPr/>
          <a:lstStyle/>
          <a:p>
            <a:r>
              <a:rPr lang="de-DE"/>
              <a:t>Diagramm durch Klicken auf Symbol hinzufügen</a:t>
            </a:r>
            <a:endParaRPr lang="en-US"/>
          </a:p>
        </p:txBody>
      </p:sp>
      <p:sp>
        <p:nvSpPr>
          <p:cNvPr id="8" name="subhead">
            <a:extLst>
              <a:ext uri="{FF2B5EF4-FFF2-40B4-BE49-F238E27FC236}">
                <a16:creationId xmlns:a16="http://schemas.microsoft.com/office/drawing/2014/main" id="{7D5BF9EC-E9BE-BF48-E481-75AD0C1CD720}"/>
              </a:ext>
            </a:extLst>
          </p:cNvPr>
          <p:cNvSpPr>
            <a:spLocks noGrp="1"/>
          </p:cNvSpPr>
          <p:nvPr>
            <p:ph sz="quarter" idx="15"/>
          </p:nvPr>
        </p:nvSpPr>
        <p:spPr>
          <a:xfrm>
            <a:off x="540000" y="1475999"/>
            <a:ext cx="1108800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15" name="navigation">
            <a:extLst>
              <a:ext uri="{FF2B5EF4-FFF2-40B4-BE49-F238E27FC236}">
                <a16:creationId xmlns:a16="http://schemas.microsoft.com/office/drawing/2014/main" id="{B89C8B69-FE7C-0370-BE07-83CA8297B23D}"/>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37104985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   054 : chart : source : text right sourc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EA4E6AC3-01D5-9C31-52D4-0BB693B8DABC}"/>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GB" smtClean="0"/>
              <a:pPr/>
              <a:t>‹Nr.›</a:t>
            </a:fld>
            <a:endParaRPr lang="en-GB" dirty="0"/>
          </a:p>
        </p:txBody>
      </p:sp>
      <p:sp>
        <p:nvSpPr>
          <p:cNvPr id="5" name="footer">
            <a:extLst>
              <a:ext uri="{FF2B5EF4-FFF2-40B4-BE49-F238E27FC236}">
                <a16:creationId xmlns:a16="http://schemas.microsoft.com/office/drawing/2014/main" id="{9459A81C-BC10-1FFD-D1F6-FB6EC1B07A71}"/>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1"/>
                </a:solidFill>
              </a:defRPr>
            </a:lvl1pPr>
          </a:lstStyle>
          <a:p>
            <a:r>
              <a:rPr lang="en-GB"/>
              <a:t>valantic layout samples Route B</a:t>
            </a:r>
            <a:endParaRPr lang="nl-NL" dirty="0"/>
          </a:p>
        </p:txBody>
      </p:sp>
      <p:sp>
        <p:nvSpPr>
          <p:cNvPr id="6" name="date">
            <a:extLst>
              <a:ext uri="{FF2B5EF4-FFF2-40B4-BE49-F238E27FC236}">
                <a16:creationId xmlns:a16="http://schemas.microsoft.com/office/drawing/2014/main" id="{2495416B-3F05-B437-A185-4B84C57A4D03}"/>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9" name="source">
            <a:extLst>
              <a:ext uri="{FF2B5EF4-FFF2-40B4-BE49-F238E27FC236}">
                <a16:creationId xmlns:a16="http://schemas.microsoft.com/office/drawing/2014/main" id="{D90B879A-93CD-B442-149F-7B0388FD517A}"/>
              </a:ext>
            </a:extLst>
          </p:cNvPr>
          <p:cNvSpPr>
            <a:spLocks noGrp="1"/>
          </p:cNvSpPr>
          <p:nvPr>
            <p:ph type="body" idx="1"/>
          </p:nvPr>
        </p:nvSpPr>
        <p:spPr>
          <a:xfrm>
            <a:off x="539999" y="5832000"/>
            <a:ext cx="7920000" cy="360000"/>
          </a:xfrm>
        </p:spPr>
        <p:txBody>
          <a:bodyPr anchor="b"/>
          <a:lstStyle>
            <a:lvl1pPr marL="0" indent="0">
              <a:lnSpc>
                <a:spcPts val="900"/>
              </a:lnSpc>
              <a:spcBef>
                <a:spcPts val="0"/>
              </a:spcBef>
              <a:spcAft>
                <a:spcPts val="0"/>
              </a:spcAft>
              <a:buNone/>
              <a:defRPr sz="9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2" name="subhead right">
            <a:extLst>
              <a:ext uri="{FF2B5EF4-FFF2-40B4-BE49-F238E27FC236}">
                <a16:creationId xmlns:a16="http://schemas.microsoft.com/office/drawing/2014/main" id="{84CE48BC-4FA2-332D-3105-E3074773CB07}"/>
              </a:ext>
            </a:extLst>
          </p:cNvPr>
          <p:cNvSpPr>
            <a:spLocks noGrp="1"/>
          </p:cNvSpPr>
          <p:nvPr>
            <p:ph type="body" idx="18"/>
          </p:nvPr>
        </p:nvSpPr>
        <p:spPr>
          <a:xfrm>
            <a:off x="8761138" y="1476374"/>
            <a:ext cx="2880000" cy="4680000"/>
          </a:xfrm>
          <a:prstGeom prst="roundRect">
            <a:avLst>
              <a:gd name="adj" fmla="val 160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sz="1200" i="0" dirty="0">
                <a:solidFill>
                  <a:schemeClr val="tx1"/>
                </a:solidFill>
                <a:latin typeface="Segoe UI Semilight" panose="020B0402040204020203" pitchFamily="34" charset="0"/>
                <a:cs typeface="Segoe UI Semilight" panose="020B0402040204020203" pitchFamily="34" charset="0"/>
              </a:defRPr>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e-DE" noProof="0"/>
              <a:t>Mastertextformat bearbeiten</a:t>
            </a:r>
          </a:p>
        </p:txBody>
      </p:sp>
      <p:sp>
        <p:nvSpPr>
          <p:cNvPr id="2" name="chart">
            <a:extLst>
              <a:ext uri="{FF2B5EF4-FFF2-40B4-BE49-F238E27FC236}">
                <a16:creationId xmlns:a16="http://schemas.microsoft.com/office/drawing/2014/main" id="{0E7FF249-AE2B-F99D-1704-29F12F21612F}"/>
              </a:ext>
            </a:extLst>
          </p:cNvPr>
          <p:cNvSpPr>
            <a:spLocks noGrp="1"/>
          </p:cNvSpPr>
          <p:nvPr>
            <p:ph type="chart" sz="quarter" idx="39"/>
          </p:nvPr>
        </p:nvSpPr>
        <p:spPr>
          <a:xfrm>
            <a:off x="539750" y="1980000"/>
            <a:ext cx="7920000" cy="3780000"/>
          </a:xfrm>
        </p:spPr>
        <p:txBody>
          <a:bodyPr/>
          <a:lstStyle/>
          <a:p>
            <a:r>
              <a:rPr lang="de-DE"/>
              <a:t>Diagramm durch Klicken auf Symbol hinzufügen</a:t>
            </a:r>
            <a:endParaRPr lang="en-US" dirty="0"/>
          </a:p>
        </p:txBody>
      </p:sp>
      <p:sp>
        <p:nvSpPr>
          <p:cNvPr id="8" name="subhead">
            <a:extLst>
              <a:ext uri="{FF2B5EF4-FFF2-40B4-BE49-F238E27FC236}">
                <a16:creationId xmlns:a16="http://schemas.microsoft.com/office/drawing/2014/main" id="{5A5BAEAC-8E7A-8141-E458-2176ADC3AC6C}"/>
              </a:ext>
            </a:extLst>
          </p:cNvPr>
          <p:cNvSpPr>
            <a:spLocks noGrp="1"/>
          </p:cNvSpPr>
          <p:nvPr>
            <p:ph sz="quarter" idx="15"/>
          </p:nvPr>
        </p:nvSpPr>
        <p:spPr>
          <a:xfrm>
            <a:off x="540000" y="1475999"/>
            <a:ext cx="79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15" name="navigation">
            <a:extLst>
              <a:ext uri="{FF2B5EF4-FFF2-40B4-BE49-F238E27FC236}">
                <a16:creationId xmlns:a16="http://schemas.microsoft.com/office/drawing/2014/main" id="{EC2A70C0-2E7F-245C-49B6-08A13531779E}"/>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96514514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   055 : 2 contents : 2 sources">
    <p:spTree>
      <p:nvGrpSpPr>
        <p:cNvPr id="1" name=""/>
        <p:cNvGrpSpPr/>
        <p:nvPr/>
      </p:nvGrpSpPr>
      <p:grpSpPr>
        <a:xfrm>
          <a:off x="0" y="0"/>
          <a:ext cx="0" cy="0"/>
          <a:chOff x="0" y="0"/>
          <a:chExt cx="0" cy="0"/>
        </a:xfrm>
      </p:grpSpPr>
      <p:sp>
        <p:nvSpPr>
          <p:cNvPr id="11" name="slide number">
            <a:extLst>
              <a:ext uri="{FF2B5EF4-FFF2-40B4-BE49-F238E27FC236}">
                <a16:creationId xmlns:a16="http://schemas.microsoft.com/office/drawing/2014/main" id="{BC8BA2C0-FF86-7160-B605-4AFD8142AAA5}"/>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GB" smtClean="0"/>
              <a:pPr/>
              <a:t>‹Nr.›</a:t>
            </a:fld>
            <a:endParaRPr lang="en-GB" dirty="0"/>
          </a:p>
        </p:txBody>
      </p:sp>
      <p:sp>
        <p:nvSpPr>
          <p:cNvPr id="12" name="footer">
            <a:extLst>
              <a:ext uri="{FF2B5EF4-FFF2-40B4-BE49-F238E27FC236}">
                <a16:creationId xmlns:a16="http://schemas.microsoft.com/office/drawing/2014/main" id="{268B1DC0-E2F4-964B-BEBC-F781A34B417B}"/>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1"/>
                </a:solidFill>
              </a:defRPr>
            </a:lvl1pPr>
          </a:lstStyle>
          <a:p>
            <a:r>
              <a:rPr lang="en-GB"/>
              <a:t>valantic layout samples Route B</a:t>
            </a:r>
            <a:endParaRPr lang="nl-NL" dirty="0"/>
          </a:p>
        </p:txBody>
      </p:sp>
      <p:sp>
        <p:nvSpPr>
          <p:cNvPr id="13" name="date">
            <a:extLst>
              <a:ext uri="{FF2B5EF4-FFF2-40B4-BE49-F238E27FC236}">
                <a16:creationId xmlns:a16="http://schemas.microsoft.com/office/drawing/2014/main" id="{020BFB18-B358-A527-A325-CBA53A65BE2E}"/>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4" name="source 2">
            <a:extLst>
              <a:ext uri="{FF2B5EF4-FFF2-40B4-BE49-F238E27FC236}">
                <a16:creationId xmlns:a16="http://schemas.microsoft.com/office/drawing/2014/main" id="{6218AEF4-928C-FA23-F100-1F1CFF88F156}"/>
              </a:ext>
            </a:extLst>
          </p:cNvPr>
          <p:cNvSpPr>
            <a:spLocks noGrp="1"/>
          </p:cNvSpPr>
          <p:nvPr>
            <p:ph type="body" idx="46"/>
          </p:nvPr>
        </p:nvSpPr>
        <p:spPr>
          <a:xfrm>
            <a:off x="6419111" y="5832000"/>
            <a:ext cx="5219750" cy="360000"/>
          </a:xfrm>
        </p:spPr>
        <p:txBody>
          <a:bodyPr anchor="b"/>
          <a:lstStyle>
            <a:lvl1pPr marL="0" indent="0">
              <a:lnSpc>
                <a:spcPts val="900"/>
              </a:lnSpc>
              <a:spcBef>
                <a:spcPts val="0"/>
              </a:spcBef>
              <a:spcAft>
                <a:spcPts val="0"/>
              </a:spcAft>
              <a:buNone/>
              <a:defRPr sz="9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6419111" y="1980000"/>
            <a:ext cx="5219751" cy="378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6" name="subhead 2">
            <a:extLst>
              <a:ext uri="{FF2B5EF4-FFF2-40B4-BE49-F238E27FC236}">
                <a16:creationId xmlns:a16="http://schemas.microsoft.com/office/drawing/2014/main" id="{6B8C3375-A80B-8796-0867-330B7711A119}"/>
              </a:ext>
            </a:extLst>
          </p:cNvPr>
          <p:cNvSpPr>
            <a:spLocks noGrp="1"/>
          </p:cNvSpPr>
          <p:nvPr>
            <p:ph sz="quarter" idx="44"/>
          </p:nvPr>
        </p:nvSpPr>
        <p:spPr>
          <a:xfrm>
            <a:off x="6419111" y="1475999"/>
            <a:ext cx="5219751"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9" name="source 1">
            <a:extLst>
              <a:ext uri="{FF2B5EF4-FFF2-40B4-BE49-F238E27FC236}">
                <a16:creationId xmlns:a16="http://schemas.microsoft.com/office/drawing/2014/main" id="{24DD49C3-D958-C385-9D8F-840036F3D689}"/>
              </a:ext>
            </a:extLst>
          </p:cNvPr>
          <p:cNvSpPr>
            <a:spLocks noGrp="1"/>
          </p:cNvSpPr>
          <p:nvPr>
            <p:ph type="body" idx="1"/>
          </p:nvPr>
        </p:nvSpPr>
        <p:spPr>
          <a:xfrm>
            <a:off x="539999" y="5832000"/>
            <a:ext cx="5219750" cy="360000"/>
          </a:xfrm>
        </p:spPr>
        <p:txBody>
          <a:bodyPr anchor="b"/>
          <a:lstStyle>
            <a:lvl1pPr marL="0" indent="0">
              <a:lnSpc>
                <a:spcPts val="900"/>
              </a:lnSpc>
              <a:spcBef>
                <a:spcPts val="0"/>
              </a:spcBef>
              <a:spcAft>
                <a:spcPts val="0"/>
              </a:spcAft>
              <a:buNone/>
              <a:defRPr sz="9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980000"/>
            <a:ext cx="5219750" cy="378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8" name="subhead 1">
            <a:extLst>
              <a:ext uri="{FF2B5EF4-FFF2-40B4-BE49-F238E27FC236}">
                <a16:creationId xmlns:a16="http://schemas.microsoft.com/office/drawing/2014/main" id="{6F1344B3-4025-1B1E-863A-CBC337D97961}"/>
              </a:ext>
            </a:extLst>
          </p:cNvPr>
          <p:cNvSpPr>
            <a:spLocks noGrp="1"/>
          </p:cNvSpPr>
          <p:nvPr>
            <p:ph sz="quarter" idx="45"/>
          </p:nvPr>
        </p:nvSpPr>
        <p:spPr>
          <a:xfrm>
            <a:off x="540000" y="1475999"/>
            <a:ext cx="52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18" name="navigation">
            <a:extLst>
              <a:ext uri="{FF2B5EF4-FFF2-40B4-BE49-F238E27FC236}">
                <a16:creationId xmlns:a16="http://schemas.microsoft.com/office/drawing/2014/main" id="{01CF80BC-1755-4FA7-D69B-3E34BC02FE76}"/>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6858653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   056 : 2 charts : text below : sources">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EA4E6AC3-01D5-9C31-52D4-0BB693B8DABC}"/>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defRPr lang="en-GB" smtClean="0"/>
            </a:lvl1pPr>
          </a:lstStyle>
          <a:p>
            <a:fld id="{FA573BCF-C0F1-4720-B5E7-944FE630E67D}" type="slidenum">
              <a:rPr lang="en-GB" smtClean="0"/>
              <a:pPr/>
              <a:t>‹Nr.›</a:t>
            </a:fld>
            <a:endParaRPr lang="en-GB" dirty="0"/>
          </a:p>
        </p:txBody>
      </p:sp>
      <p:sp>
        <p:nvSpPr>
          <p:cNvPr id="5" name="footer">
            <a:extLst>
              <a:ext uri="{FF2B5EF4-FFF2-40B4-BE49-F238E27FC236}">
                <a16:creationId xmlns:a16="http://schemas.microsoft.com/office/drawing/2014/main" id="{9459A81C-BC10-1FFD-D1F6-FB6EC1B07A71}"/>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1"/>
                </a:solidFill>
              </a:defRPr>
            </a:lvl1pPr>
          </a:lstStyle>
          <a:p>
            <a:r>
              <a:rPr lang="en-GB"/>
              <a:t>valantic layout samples Route B</a:t>
            </a:r>
            <a:endParaRPr lang="nl-NL" dirty="0"/>
          </a:p>
        </p:txBody>
      </p:sp>
      <p:sp>
        <p:nvSpPr>
          <p:cNvPr id="6" name="date">
            <a:extLst>
              <a:ext uri="{FF2B5EF4-FFF2-40B4-BE49-F238E27FC236}">
                <a16:creationId xmlns:a16="http://schemas.microsoft.com/office/drawing/2014/main" id="{2495416B-3F05-B437-A185-4B84C57A4D03}"/>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9" name="text 2">
            <a:extLst>
              <a:ext uri="{FF2B5EF4-FFF2-40B4-BE49-F238E27FC236}">
                <a16:creationId xmlns:a16="http://schemas.microsoft.com/office/drawing/2014/main" id="{BFE489C3-AC5B-233B-CB06-68EA68FC554B}"/>
              </a:ext>
            </a:extLst>
          </p:cNvPr>
          <p:cNvSpPr>
            <a:spLocks noGrp="1"/>
          </p:cNvSpPr>
          <p:nvPr>
            <p:ph type="body" sz="quarter" idx="42"/>
          </p:nvPr>
        </p:nvSpPr>
        <p:spPr>
          <a:xfrm>
            <a:off x="6421138" y="4689474"/>
            <a:ext cx="5220000" cy="1476375"/>
          </a:xfrm>
        </p:spPr>
        <p:txBody>
          <a:bodyPr tIns="72000" rIns="1080000"/>
          <a:lstStyle>
            <a:lvl1pPr>
              <a:defRPr sz="1200"/>
            </a:lvl1pPr>
            <a:lvl2pPr>
              <a:defRPr sz="1200"/>
            </a:lvl2pPr>
            <a:lvl3pPr>
              <a:defRPr sz="1200"/>
            </a:lvl3pPr>
            <a:lvl4pPr>
              <a:defRPr sz="1200"/>
            </a:lvl4pPr>
            <a:lvl5pPr>
              <a:defRPr lang="en-US" sz="1200" b="0" kern="1200" spc="40" baseline="0" noProof="0" dirty="0">
                <a:solidFill>
                  <a:schemeClr val="accent1"/>
                </a:solidFill>
                <a:latin typeface="Segoe UI Semibold" panose="020B0702040204020203" pitchFamily="34" charset="0"/>
                <a:ea typeface="+mn-ea"/>
                <a:cs typeface="Segoe UI Semibold" panose="020B0702040204020203" pitchFamily="34" charset="0"/>
              </a:defRPr>
            </a:lvl5pPr>
            <a:lvl6pPr>
              <a:defRPr sz="1200"/>
            </a:lvl6pPr>
            <a:lvl7pPr>
              <a:defRPr sz="1200"/>
            </a:lvl7pPr>
            <a:lvl8pPr>
              <a:defRPr sz="1200"/>
            </a:lvl8pPr>
            <a:lvl9pPr>
              <a:defRPr sz="1200"/>
            </a:lvl9pPr>
          </a:lstStyle>
          <a:p>
            <a:pPr lvl="0"/>
            <a:r>
              <a:rPr lang="de-DE"/>
              <a:t>Mastertextformat bearbeiten</a:t>
            </a:r>
          </a:p>
        </p:txBody>
      </p:sp>
      <p:sp>
        <p:nvSpPr>
          <p:cNvPr id="19" name="source 2">
            <a:extLst>
              <a:ext uri="{FF2B5EF4-FFF2-40B4-BE49-F238E27FC236}">
                <a16:creationId xmlns:a16="http://schemas.microsoft.com/office/drawing/2014/main" id="{813089E7-5D4D-1E86-F19A-DC41DB5AF29F}"/>
              </a:ext>
            </a:extLst>
          </p:cNvPr>
          <p:cNvSpPr>
            <a:spLocks noGrp="1"/>
          </p:cNvSpPr>
          <p:nvPr>
            <p:ph type="body" idx="46"/>
          </p:nvPr>
        </p:nvSpPr>
        <p:spPr>
          <a:xfrm>
            <a:off x="6422400" y="4140000"/>
            <a:ext cx="5219750" cy="360000"/>
          </a:xfrm>
        </p:spPr>
        <p:txBody>
          <a:bodyPr anchor="b"/>
          <a:lstStyle>
            <a:lvl1pPr marL="0" indent="0">
              <a:lnSpc>
                <a:spcPts val="900"/>
              </a:lnSpc>
              <a:spcBef>
                <a:spcPts val="0"/>
              </a:spcBef>
              <a:spcAft>
                <a:spcPts val="0"/>
              </a:spcAft>
              <a:buNone/>
              <a:defRPr sz="9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8" name="chart 2">
            <a:extLst>
              <a:ext uri="{FF2B5EF4-FFF2-40B4-BE49-F238E27FC236}">
                <a16:creationId xmlns:a16="http://schemas.microsoft.com/office/drawing/2014/main" id="{5D00C4C4-21BC-E403-5F96-529ED4036FC3}"/>
              </a:ext>
            </a:extLst>
          </p:cNvPr>
          <p:cNvSpPr>
            <a:spLocks noGrp="1"/>
          </p:cNvSpPr>
          <p:nvPr>
            <p:ph type="chart" sz="quarter" idx="41"/>
          </p:nvPr>
        </p:nvSpPr>
        <p:spPr>
          <a:xfrm>
            <a:off x="6421138" y="1980000"/>
            <a:ext cx="5220000" cy="2160000"/>
          </a:xfrm>
        </p:spPr>
        <p:txBody>
          <a:bodyPr/>
          <a:lstStyle/>
          <a:p>
            <a:r>
              <a:rPr lang="de-DE"/>
              <a:t>Diagramm durch Klicken auf Symbol hinzufügen</a:t>
            </a:r>
            <a:endParaRPr lang="en-US" dirty="0"/>
          </a:p>
        </p:txBody>
      </p:sp>
      <p:sp>
        <p:nvSpPr>
          <p:cNvPr id="14" name="subhead 2">
            <a:extLst>
              <a:ext uri="{FF2B5EF4-FFF2-40B4-BE49-F238E27FC236}">
                <a16:creationId xmlns:a16="http://schemas.microsoft.com/office/drawing/2014/main" id="{85D3ED2D-4755-DD06-09E1-CE34CC1DA036}"/>
              </a:ext>
            </a:extLst>
          </p:cNvPr>
          <p:cNvSpPr>
            <a:spLocks noGrp="1"/>
          </p:cNvSpPr>
          <p:nvPr>
            <p:ph sz="quarter" idx="22"/>
          </p:nvPr>
        </p:nvSpPr>
        <p:spPr>
          <a:xfrm>
            <a:off x="6419111" y="1475999"/>
            <a:ext cx="5219751"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0" name="text 1">
            <a:extLst>
              <a:ext uri="{FF2B5EF4-FFF2-40B4-BE49-F238E27FC236}">
                <a16:creationId xmlns:a16="http://schemas.microsoft.com/office/drawing/2014/main" id="{4A00C997-8DE1-F0F4-0296-F785F76AD2AB}"/>
              </a:ext>
            </a:extLst>
          </p:cNvPr>
          <p:cNvSpPr>
            <a:spLocks noGrp="1"/>
          </p:cNvSpPr>
          <p:nvPr>
            <p:ph type="body" sz="quarter" idx="40"/>
          </p:nvPr>
        </p:nvSpPr>
        <p:spPr>
          <a:xfrm>
            <a:off x="539750" y="4689474"/>
            <a:ext cx="5220000" cy="1476375"/>
          </a:xfrm>
        </p:spPr>
        <p:txBody>
          <a:bodyPr tIns="72000" rIns="1080000"/>
          <a:lstStyle>
            <a:lvl1pPr>
              <a:defRPr sz="1200"/>
            </a:lvl1pPr>
            <a:lvl2pPr>
              <a:defRPr sz="1200"/>
            </a:lvl2pPr>
            <a:lvl3pPr>
              <a:defRPr sz="1200"/>
            </a:lvl3pPr>
            <a:lvl4pPr>
              <a:defRPr sz="1200"/>
            </a:lvl4pPr>
            <a:lvl5pPr>
              <a:defRPr lang="en-US" sz="1200" b="0" kern="1200" spc="40" baseline="0" noProof="0" dirty="0">
                <a:solidFill>
                  <a:schemeClr val="accent1"/>
                </a:solidFill>
                <a:latin typeface="Segoe UI Semibold" panose="020B0702040204020203" pitchFamily="34" charset="0"/>
                <a:ea typeface="+mn-ea"/>
                <a:cs typeface="Segoe UI Semibold" panose="020B0702040204020203" pitchFamily="34" charset="0"/>
              </a:defRPr>
            </a:lvl5pPr>
            <a:lvl6pPr>
              <a:defRPr sz="1200"/>
            </a:lvl6pPr>
            <a:lvl7pPr>
              <a:defRPr sz="1200"/>
            </a:lvl7pPr>
            <a:lvl8pPr>
              <a:defRPr sz="1200"/>
            </a:lvl8pPr>
            <a:lvl9pPr>
              <a:defRPr sz="1200"/>
            </a:lvl9pPr>
          </a:lstStyle>
          <a:p>
            <a:pPr lvl="0"/>
            <a:r>
              <a:rPr lang="de-DE"/>
              <a:t>Mastertextformat bearbeiten</a:t>
            </a:r>
          </a:p>
        </p:txBody>
      </p:sp>
      <p:sp>
        <p:nvSpPr>
          <p:cNvPr id="20" name="source 1">
            <a:extLst>
              <a:ext uri="{FF2B5EF4-FFF2-40B4-BE49-F238E27FC236}">
                <a16:creationId xmlns:a16="http://schemas.microsoft.com/office/drawing/2014/main" id="{240FDEE6-F24F-97E6-15E0-2607CAC4D11F}"/>
              </a:ext>
            </a:extLst>
          </p:cNvPr>
          <p:cNvSpPr>
            <a:spLocks noGrp="1"/>
          </p:cNvSpPr>
          <p:nvPr>
            <p:ph type="body" idx="1"/>
          </p:nvPr>
        </p:nvSpPr>
        <p:spPr>
          <a:xfrm>
            <a:off x="539999" y="4140000"/>
            <a:ext cx="5219750" cy="360000"/>
          </a:xfrm>
        </p:spPr>
        <p:txBody>
          <a:bodyPr anchor="b"/>
          <a:lstStyle>
            <a:lvl1pPr marL="0" indent="0">
              <a:lnSpc>
                <a:spcPts val="900"/>
              </a:lnSpc>
              <a:spcBef>
                <a:spcPts val="0"/>
              </a:spcBef>
              <a:spcAft>
                <a:spcPts val="0"/>
              </a:spcAft>
              <a:buNone/>
              <a:defRPr sz="9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 name="chart 1">
            <a:extLst>
              <a:ext uri="{FF2B5EF4-FFF2-40B4-BE49-F238E27FC236}">
                <a16:creationId xmlns:a16="http://schemas.microsoft.com/office/drawing/2014/main" id="{0E7FF249-AE2B-F99D-1704-29F12F21612F}"/>
              </a:ext>
            </a:extLst>
          </p:cNvPr>
          <p:cNvSpPr>
            <a:spLocks noGrp="1"/>
          </p:cNvSpPr>
          <p:nvPr>
            <p:ph type="chart" sz="quarter" idx="39"/>
          </p:nvPr>
        </p:nvSpPr>
        <p:spPr>
          <a:xfrm>
            <a:off x="539750" y="1980000"/>
            <a:ext cx="5220000" cy="2160000"/>
          </a:xfrm>
        </p:spPr>
        <p:txBody>
          <a:bodyPr/>
          <a:lstStyle/>
          <a:p>
            <a:r>
              <a:rPr lang="de-DE"/>
              <a:t>Diagramm durch Klicken auf Symbol hinzufügen</a:t>
            </a:r>
            <a:endParaRPr lang="en-US"/>
          </a:p>
        </p:txBody>
      </p:sp>
      <p:sp>
        <p:nvSpPr>
          <p:cNvPr id="15" name="subhead 1">
            <a:extLst>
              <a:ext uri="{FF2B5EF4-FFF2-40B4-BE49-F238E27FC236}">
                <a16:creationId xmlns:a16="http://schemas.microsoft.com/office/drawing/2014/main" id="{702E14B4-211B-5CF7-2EAB-5D8A05F1FD3A}"/>
              </a:ext>
            </a:extLst>
          </p:cNvPr>
          <p:cNvSpPr>
            <a:spLocks noGrp="1"/>
          </p:cNvSpPr>
          <p:nvPr>
            <p:ph sz="quarter" idx="15"/>
          </p:nvPr>
        </p:nvSpPr>
        <p:spPr>
          <a:xfrm>
            <a:off x="540000" y="1475999"/>
            <a:ext cx="52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21" name="navigation">
            <a:extLst>
              <a:ext uri="{FF2B5EF4-FFF2-40B4-BE49-F238E27FC236}">
                <a16:creationId xmlns:a16="http://schemas.microsoft.com/office/drawing/2014/main" id="{63D24D60-35C8-BF24-F2FD-66B841684AEB}"/>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029698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   057 : 3 charts : 3 sources">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EA4E6AC3-01D5-9C31-52D4-0BB693B8DABC}"/>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defRPr lang="en-GB" smtClean="0"/>
            </a:lvl1pPr>
          </a:lstStyle>
          <a:p>
            <a:fld id="{FA573BCF-C0F1-4720-B5E7-944FE630E67D}" type="slidenum">
              <a:rPr lang="en-GB" smtClean="0"/>
              <a:pPr/>
              <a:t>‹Nr.›</a:t>
            </a:fld>
            <a:endParaRPr lang="en-GB" dirty="0"/>
          </a:p>
        </p:txBody>
      </p:sp>
      <p:sp>
        <p:nvSpPr>
          <p:cNvPr id="5" name="footer">
            <a:extLst>
              <a:ext uri="{FF2B5EF4-FFF2-40B4-BE49-F238E27FC236}">
                <a16:creationId xmlns:a16="http://schemas.microsoft.com/office/drawing/2014/main" id="{9459A81C-BC10-1FFD-D1F6-FB6EC1B07A71}"/>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1"/>
                </a:solidFill>
              </a:defRPr>
            </a:lvl1pPr>
          </a:lstStyle>
          <a:p>
            <a:r>
              <a:rPr lang="en-GB"/>
              <a:t>valantic layout samples Route B</a:t>
            </a:r>
            <a:endParaRPr lang="nl-NL" dirty="0"/>
          </a:p>
        </p:txBody>
      </p:sp>
      <p:sp>
        <p:nvSpPr>
          <p:cNvPr id="6" name="date">
            <a:extLst>
              <a:ext uri="{FF2B5EF4-FFF2-40B4-BE49-F238E27FC236}">
                <a16:creationId xmlns:a16="http://schemas.microsoft.com/office/drawing/2014/main" id="{2495416B-3F05-B437-A185-4B84C57A4D03}"/>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8" name="source 3">
            <a:extLst>
              <a:ext uri="{FF2B5EF4-FFF2-40B4-BE49-F238E27FC236}">
                <a16:creationId xmlns:a16="http://schemas.microsoft.com/office/drawing/2014/main" id="{A9B86154-9F01-E6BD-1946-3E625BE2DAB6}"/>
              </a:ext>
            </a:extLst>
          </p:cNvPr>
          <p:cNvSpPr>
            <a:spLocks noGrp="1"/>
          </p:cNvSpPr>
          <p:nvPr>
            <p:ph type="body" idx="52" hasCustomPrompt="1"/>
          </p:nvPr>
        </p:nvSpPr>
        <p:spPr>
          <a:xfrm>
            <a:off x="8207250" y="5832000"/>
            <a:ext cx="3420000" cy="360000"/>
          </a:xfrm>
        </p:spPr>
        <p:txBody>
          <a:bodyPr tIns="72000" anchor="b"/>
          <a:lstStyle>
            <a:lvl1pPr marL="0" indent="0">
              <a:lnSpc>
                <a:spcPts val="1000"/>
              </a:lnSpc>
              <a:spcBef>
                <a:spcPts val="0"/>
              </a:spcBef>
              <a:spcAft>
                <a:spcPts val="0"/>
              </a:spcAft>
              <a:buNone/>
              <a:defRPr sz="9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br>
              <a:rPr lang="en-US" dirty="0"/>
            </a:br>
            <a:r>
              <a:rPr lang="en-US" dirty="0"/>
              <a:t>edit Master text styles</a:t>
            </a:r>
          </a:p>
        </p:txBody>
      </p:sp>
      <p:sp>
        <p:nvSpPr>
          <p:cNvPr id="13" name="chart 3">
            <a:extLst>
              <a:ext uri="{FF2B5EF4-FFF2-40B4-BE49-F238E27FC236}">
                <a16:creationId xmlns:a16="http://schemas.microsoft.com/office/drawing/2014/main" id="{E6E1982C-F4E0-463E-837B-F95FDE60CD91}"/>
              </a:ext>
            </a:extLst>
          </p:cNvPr>
          <p:cNvSpPr>
            <a:spLocks noGrp="1"/>
          </p:cNvSpPr>
          <p:nvPr>
            <p:ph type="chart" sz="quarter" idx="45"/>
          </p:nvPr>
        </p:nvSpPr>
        <p:spPr>
          <a:xfrm>
            <a:off x="8207250" y="1980000"/>
            <a:ext cx="3420000" cy="3780000"/>
          </a:xfrm>
        </p:spPr>
        <p:txBody>
          <a:bodyPr/>
          <a:lstStyle/>
          <a:p>
            <a:r>
              <a:rPr lang="de-DE"/>
              <a:t>Diagramm durch Klicken auf Symbol hinzufügen</a:t>
            </a:r>
            <a:endParaRPr lang="en-US"/>
          </a:p>
        </p:txBody>
      </p:sp>
      <p:sp>
        <p:nvSpPr>
          <p:cNvPr id="10" name="subhead 3">
            <a:extLst>
              <a:ext uri="{FF2B5EF4-FFF2-40B4-BE49-F238E27FC236}">
                <a16:creationId xmlns:a16="http://schemas.microsoft.com/office/drawing/2014/main" id="{5FD95769-7D9A-22A3-E703-721E42B6905A}"/>
              </a:ext>
            </a:extLst>
          </p:cNvPr>
          <p:cNvSpPr>
            <a:spLocks noGrp="1"/>
          </p:cNvSpPr>
          <p:nvPr>
            <p:ph sz="quarter" idx="48"/>
          </p:nvPr>
        </p:nvSpPr>
        <p:spPr>
          <a:xfrm>
            <a:off x="8207500" y="1440000"/>
            <a:ext cx="34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6" name="source 2">
            <a:extLst>
              <a:ext uri="{FF2B5EF4-FFF2-40B4-BE49-F238E27FC236}">
                <a16:creationId xmlns:a16="http://schemas.microsoft.com/office/drawing/2014/main" id="{B02BB6D9-F0E4-A19C-EEC8-C7935E088A51}"/>
              </a:ext>
            </a:extLst>
          </p:cNvPr>
          <p:cNvSpPr>
            <a:spLocks noGrp="1"/>
          </p:cNvSpPr>
          <p:nvPr>
            <p:ph type="body" idx="51" hasCustomPrompt="1"/>
          </p:nvPr>
        </p:nvSpPr>
        <p:spPr>
          <a:xfrm>
            <a:off x="4373625" y="5832000"/>
            <a:ext cx="3420000" cy="360000"/>
          </a:xfrm>
        </p:spPr>
        <p:txBody>
          <a:bodyPr tIns="72000" anchor="b"/>
          <a:lstStyle>
            <a:lvl1pPr marL="0" indent="0">
              <a:lnSpc>
                <a:spcPts val="1000"/>
              </a:lnSpc>
              <a:spcBef>
                <a:spcPts val="0"/>
              </a:spcBef>
              <a:spcAft>
                <a:spcPts val="0"/>
              </a:spcAft>
              <a:buNone/>
              <a:defRPr sz="9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br>
              <a:rPr lang="en-US" dirty="0"/>
            </a:br>
            <a:r>
              <a:rPr lang="en-US" dirty="0"/>
              <a:t>edit Master text styles</a:t>
            </a:r>
          </a:p>
        </p:txBody>
      </p:sp>
      <p:sp>
        <p:nvSpPr>
          <p:cNvPr id="12" name="chart 2">
            <a:extLst>
              <a:ext uri="{FF2B5EF4-FFF2-40B4-BE49-F238E27FC236}">
                <a16:creationId xmlns:a16="http://schemas.microsoft.com/office/drawing/2014/main" id="{E2856504-6871-5A34-BC9D-4FDE561DEFEE}"/>
              </a:ext>
            </a:extLst>
          </p:cNvPr>
          <p:cNvSpPr>
            <a:spLocks noGrp="1"/>
          </p:cNvSpPr>
          <p:nvPr>
            <p:ph type="chart" sz="quarter" idx="44"/>
          </p:nvPr>
        </p:nvSpPr>
        <p:spPr>
          <a:xfrm>
            <a:off x="4373625" y="1980000"/>
            <a:ext cx="3420000" cy="3780000"/>
          </a:xfrm>
        </p:spPr>
        <p:txBody>
          <a:bodyPr/>
          <a:lstStyle/>
          <a:p>
            <a:r>
              <a:rPr lang="de-DE"/>
              <a:t>Diagramm durch Klicken auf Symbol hinzufügen</a:t>
            </a:r>
            <a:endParaRPr lang="en-US"/>
          </a:p>
        </p:txBody>
      </p:sp>
      <p:sp>
        <p:nvSpPr>
          <p:cNvPr id="9" name="subhead 2">
            <a:extLst>
              <a:ext uri="{FF2B5EF4-FFF2-40B4-BE49-F238E27FC236}">
                <a16:creationId xmlns:a16="http://schemas.microsoft.com/office/drawing/2014/main" id="{44185BE8-DF02-ADC4-2C3F-598824C24D1F}"/>
              </a:ext>
            </a:extLst>
          </p:cNvPr>
          <p:cNvSpPr>
            <a:spLocks noGrp="1"/>
          </p:cNvSpPr>
          <p:nvPr>
            <p:ph sz="quarter" idx="47"/>
          </p:nvPr>
        </p:nvSpPr>
        <p:spPr>
          <a:xfrm>
            <a:off x="4373875" y="1475999"/>
            <a:ext cx="34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5" name="source 1">
            <a:extLst>
              <a:ext uri="{FF2B5EF4-FFF2-40B4-BE49-F238E27FC236}">
                <a16:creationId xmlns:a16="http://schemas.microsoft.com/office/drawing/2014/main" id="{D1FB2FF4-7228-F8D7-82F5-76A79CC0726B}"/>
              </a:ext>
            </a:extLst>
          </p:cNvPr>
          <p:cNvSpPr>
            <a:spLocks noGrp="1"/>
          </p:cNvSpPr>
          <p:nvPr>
            <p:ph type="body" idx="50" hasCustomPrompt="1"/>
          </p:nvPr>
        </p:nvSpPr>
        <p:spPr>
          <a:xfrm>
            <a:off x="540000" y="5832000"/>
            <a:ext cx="3420000" cy="360000"/>
          </a:xfrm>
        </p:spPr>
        <p:txBody>
          <a:bodyPr tIns="72000" anchor="b"/>
          <a:lstStyle>
            <a:lvl1pPr marL="0" indent="0">
              <a:lnSpc>
                <a:spcPts val="1000"/>
              </a:lnSpc>
              <a:spcBef>
                <a:spcPts val="0"/>
              </a:spcBef>
              <a:spcAft>
                <a:spcPts val="0"/>
              </a:spcAft>
              <a:buNone/>
              <a:defRPr sz="9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br>
              <a:rPr lang="en-US" dirty="0"/>
            </a:br>
            <a:r>
              <a:rPr lang="en-US" dirty="0"/>
              <a:t>edit Master text styles</a:t>
            </a:r>
          </a:p>
        </p:txBody>
      </p:sp>
      <p:sp>
        <p:nvSpPr>
          <p:cNvPr id="2" name="chart 1">
            <a:extLst>
              <a:ext uri="{FF2B5EF4-FFF2-40B4-BE49-F238E27FC236}">
                <a16:creationId xmlns:a16="http://schemas.microsoft.com/office/drawing/2014/main" id="{0E7FF249-AE2B-F99D-1704-29F12F21612F}"/>
              </a:ext>
            </a:extLst>
          </p:cNvPr>
          <p:cNvSpPr>
            <a:spLocks noGrp="1"/>
          </p:cNvSpPr>
          <p:nvPr>
            <p:ph type="chart" sz="quarter" idx="39"/>
          </p:nvPr>
        </p:nvSpPr>
        <p:spPr>
          <a:xfrm>
            <a:off x="539750" y="1980000"/>
            <a:ext cx="3420000" cy="3780000"/>
          </a:xfrm>
        </p:spPr>
        <p:txBody>
          <a:bodyPr/>
          <a:lstStyle/>
          <a:p>
            <a:r>
              <a:rPr lang="de-DE"/>
              <a:t>Diagramm durch Klicken auf Symbol hinzufügen</a:t>
            </a:r>
            <a:endParaRPr lang="en-US"/>
          </a:p>
        </p:txBody>
      </p:sp>
      <p:sp>
        <p:nvSpPr>
          <p:cNvPr id="8" name="subhead 1">
            <a:extLst>
              <a:ext uri="{FF2B5EF4-FFF2-40B4-BE49-F238E27FC236}">
                <a16:creationId xmlns:a16="http://schemas.microsoft.com/office/drawing/2014/main" id="{7FD3290A-7031-7770-9646-817B4C73918A}"/>
              </a:ext>
            </a:extLst>
          </p:cNvPr>
          <p:cNvSpPr>
            <a:spLocks noGrp="1"/>
          </p:cNvSpPr>
          <p:nvPr>
            <p:ph sz="quarter" idx="15"/>
          </p:nvPr>
        </p:nvSpPr>
        <p:spPr>
          <a:xfrm>
            <a:off x="540000" y="1475999"/>
            <a:ext cx="34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20" name="navigation">
            <a:extLst>
              <a:ext uri="{FF2B5EF4-FFF2-40B4-BE49-F238E27FC236}">
                <a16:creationId xmlns:a16="http://schemas.microsoft.com/office/drawing/2014/main" id="{D358B47D-DE28-8C86-57AC-9AE9791D52F8}"/>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05459090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   058 : 4 charts : 4 sources">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EA4E6AC3-01D5-9C31-52D4-0BB693B8DABC}"/>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defRPr lang="en-GB" smtClean="0"/>
            </a:lvl1pPr>
          </a:lstStyle>
          <a:p>
            <a:fld id="{FA573BCF-C0F1-4720-B5E7-944FE630E67D}" type="slidenum">
              <a:rPr lang="en-GB" smtClean="0"/>
              <a:pPr/>
              <a:t>‹Nr.›</a:t>
            </a:fld>
            <a:endParaRPr lang="en-GB" dirty="0"/>
          </a:p>
        </p:txBody>
      </p:sp>
      <p:sp>
        <p:nvSpPr>
          <p:cNvPr id="5" name="footer">
            <a:extLst>
              <a:ext uri="{FF2B5EF4-FFF2-40B4-BE49-F238E27FC236}">
                <a16:creationId xmlns:a16="http://schemas.microsoft.com/office/drawing/2014/main" id="{9459A81C-BC10-1FFD-D1F6-FB6EC1B07A71}"/>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1"/>
                </a:solidFill>
              </a:defRPr>
            </a:lvl1pPr>
          </a:lstStyle>
          <a:p>
            <a:r>
              <a:rPr lang="en-GB"/>
              <a:t>valantic layout samples Route B</a:t>
            </a:r>
            <a:endParaRPr lang="nl-NL" dirty="0"/>
          </a:p>
        </p:txBody>
      </p:sp>
      <p:sp>
        <p:nvSpPr>
          <p:cNvPr id="6" name="date">
            <a:extLst>
              <a:ext uri="{FF2B5EF4-FFF2-40B4-BE49-F238E27FC236}">
                <a16:creationId xmlns:a16="http://schemas.microsoft.com/office/drawing/2014/main" id="{2495416B-3F05-B437-A185-4B84C57A4D03}"/>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1" name="source 4">
            <a:extLst>
              <a:ext uri="{FF2B5EF4-FFF2-40B4-BE49-F238E27FC236}">
                <a16:creationId xmlns:a16="http://schemas.microsoft.com/office/drawing/2014/main" id="{8074E840-B84A-2781-C141-E8D84BB91E4B}"/>
              </a:ext>
            </a:extLst>
          </p:cNvPr>
          <p:cNvSpPr>
            <a:spLocks noGrp="1"/>
          </p:cNvSpPr>
          <p:nvPr>
            <p:ph type="body" idx="43" hasCustomPrompt="1"/>
          </p:nvPr>
        </p:nvSpPr>
        <p:spPr>
          <a:xfrm>
            <a:off x="6421138" y="5832000"/>
            <a:ext cx="5219750" cy="360000"/>
          </a:xfrm>
        </p:spPr>
        <p:txBody>
          <a:bodyPr tIns="72000" anchor="b"/>
          <a:lstStyle>
            <a:lvl1pPr marL="0" indent="0">
              <a:lnSpc>
                <a:spcPts val="1000"/>
              </a:lnSpc>
              <a:spcBef>
                <a:spcPts val="0"/>
              </a:spcBef>
              <a:spcAft>
                <a:spcPts val="0"/>
              </a:spcAft>
              <a:buNone/>
              <a:defRPr sz="9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br>
              <a:rPr lang="en-US" dirty="0"/>
            </a:br>
            <a:r>
              <a:rPr lang="en-US" dirty="0"/>
              <a:t>edit Master text styles</a:t>
            </a:r>
          </a:p>
        </p:txBody>
      </p:sp>
      <p:sp>
        <p:nvSpPr>
          <p:cNvPr id="16" name="chart 4">
            <a:extLst>
              <a:ext uri="{FF2B5EF4-FFF2-40B4-BE49-F238E27FC236}">
                <a16:creationId xmlns:a16="http://schemas.microsoft.com/office/drawing/2014/main" id="{48A1718F-E6A1-2D1D-F320-0C14AC215E7A}"/>
              </a:ext>
            </a:extLst>
          </p:cNvPr>
          <p:cNvSpPr>
            <a:spLocks noGrp="1"/>
          </p:cNvSpPr>
          <p:nvPr>
            <p:ph type="chart" sz="quarter" idx="46"/>
          </p:nvPr>
        </p:nvSpPr>
        <p:spPr>
          <a:xfrm>
            <a:off x="6421138" y="4472764"/>
            <a:ext cx="5220000" cy="1296000"/>
          </a:xfrm>
        </p:spPr>
        <p:txBody>
          <a:bodyPr/>
          <a:lstStyle/>
          <a:p>
            <a:r>
              <a:rPr lang="de-DE"/>
              <a:t>Diagramm durch Klicken auf Symbol hinzufügen</a:t>
            </a:r>
            <a:endParaRPr lang="en-US" dirty="0"/>
          </a:p>
        </p:txBody>
      </p:sp>
      <p:sp>
        <p:nvSpPr>
          <p:cNvPr id="12" name="subhead 4">
            <a:extLst>
              <a:ext uri="{FF2B5EF4-FFF2-40B4-BE49-F238E27FC236}">
                <a16:creationId xmlns:a16="http://schemas.microsoft.com/office/drawing/2014/main" id="{E45627C3-1ABD-0953-C61A-51AA4E2122C1}"/>
              </a:ext>
            </a:extLst>
          </p:cNvPr>
          <p:cNvSpPr>
            <a:spLocks noGrp="1"/>
          </p:cNvSpPr>
          <p:nvPr>
            <p:ph sz="quarter" idx="48"/>
          </p:nvPr>
        </p:nvSpPr>
        <p:spPr>
          <a:xfrm>
            <a:off x="6419111" y="3960000"/>
            <a:ext cx="5219751"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36" name="source 3">
            <a:extLst>
              <a:ext uri="{FF2B5EF4-FFF2-40B4-BE49-F238E27FC236}">
                <a16:creationId xmlns:a16="http://schemas.microsoft.com/office/drawing/2014/main" id="{6FD5BD2B-F446-5098-A6B3-1B0DF2978EE1}"/>
              </a:ext>
            </a:extLst>
          </p:cNvPr>
          <p:cNvSpPr>
            <a:spLocks noGrp="1"/>
          </p:cNvSpPr>
          <p:nvPr>
            <p:ph type="body" idx="38" hasCustomPrompt="1"/>
          </p:nvPr>
        </p:nvSpPr>
        <p:spPr>
          <a:xfrm>
            <a:off x="540000" y="5832000"/>
            <a:ext cx="5219750" cy="360000"/>
          </a:xfrm>
        </p:spPr>
        <p:txBody>
          <a:bodyPr tIns="72000" anchor="b"/>
          <a:lstStyle>
            <a:lvl1pPr marL="0" indent="0">
              <a:lnSpc>
                <a:spcPts val="1000"/>
              </a:lnSpc>
              <a:spcBef>
                <a:spcPts val="0"/>
              </a:spcBef>
              <a:spcAft>
                <a:spcPts val="0"/>
              </a:spcAft>
              <a:buNone/>
              <a:defRPr sz="9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br>
              <a:rPr lang="en-US" dirty="0"/>
            </a:br>
            <a:r>
              <a:rPr lang="en-US" dirty="0"/>
              <a:t>edit Master text styles</a:t>
            </a:r>
          </a:p>
        </p:txBody>
      </p:sp>
      <p:sp>
        <p:nvSpPr>
          <p:cNvPr id="18" name="chart 3">
            <a:extLst>
              <a:ext uri="{FF2B5EF4-FFF2-40B4-BE49-F238E27FC236}">
                <a16:creationId xmlns:a16="http://schemas.microsoft.com/office/drawing/2014/main" id="{41B73787-9571-1692-E61E-A393F7C9A595}"/>
              </a:ext>
            </a:extLst>
          </p:cNvPr>
          <p:cNvSpPr>
            <a:spLocks noGrp="1"/>
          </p:cNvSpPr>
          <p:nvPr>
            <p:ph type="chart" sz="quarter" idx="47"/>
          </p:nvPr>
        </p:nvSpPr>
        <p:spPr>
          <a:xfrm>
            <a:off x="539750" y="4472764"/>
            <a:ext cx="5220000" cy="1296000"/>
          </a:xfrm>
        </p:spPr>
        <p:txBody>
          <a:bodyPr/>
          <a:lstStyle/>
          <a:p>
            <a:r>
              <a:rPr lang="de-DE"/>
              <a:t>Diagramm durch Klicken auf Symbol hinzufügen</a:t>
            </a:r>
            <a:endParaRPr lang="en-US"/>
          </a:p>
        </p:txBody>
      </p:sp>
      <p:sp>
        <p:nvSpPr>
          <p:cNvPr id="13" name="subhead 3">
            <a:extLst>
              <a:ext uri="{FF2B5EF4-FFF2-40B4-BE49-F238E27FC236}">
                <a16:creationId xmlns:a16="http://schemas.microsoft.com/office/drawing/2014/main" id="{F80DDD01-36FB-F470-E150-873B903A3323}"/>
              </a:ext>
            </a:extLst>
          </p:cNvPr>
          <p:cNvSpPr>
            <a:spLocks noGrp="1"/>
          </p:cNvSpPr>
          <p:nvPr>
            <p:ph sz="quarter" idx="49"/>
          </p:nvPr>
        </p:nvSpPr>
        <p:spPr>
          <a:xfrm>
            <a:off x="540000" y="3960000"/>
            <a:ext cx="52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4" name="source 2">
            <a:extLst>
              <a:ext uri="{FF2B5EF4-FFF2-40B4-BE49-F238E27FC236}">
                <a16:creationId xmlns:a16="http://schemas.microsoft.com/office/drawing/2014/main" id="{68E37CDA-3260-4E68-05BF-C9019DA6301A}"/>
              </a:ext>
            </a:extLst>
          </p:cNvPr>
          <p:cNvSpPr>
            <a:spLocks noGrp="1"/>
          </p:cNvSpPr>
          <p:nvPr>
            <p:ph type="body" idx="44" hasCustomPrompt="1"/>
          </p:nvPr>
        </p:nvSpPr>
        <p:spPr>
          <a:xfrm>
            <a:off x="6421138" y="3348000"/>
            <a:ext cx="5219750" cy="360000"/>
          </a:xfrm>
        </p:spPr>
        <p:txBody>
          <a:bodyPr tIns="72000" anchor="b"/>
          <a:lstStyle>
            <a:lvl1pPr marL="0" indent="0">
              <a:lnSpc>
                <a:spcPts val="1000"/>
              </a:lnSpc>
              <a:spcBef>
                <a:spcPts val="0"/>
              </a:spcBef>
              <a:spcAft>
                <a:spcPts val="0"/>
              </a:spcAft>
              <a:buNone/>
              <a:defRPr sz="9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br>
              <a:rPr lang="en-US" dirty="0"/>
            </a:br>
            <a:r>
              <a:rPr lang="en-US" dirty="0"/>
              <a:t>edit Master text styles</a:t>
            </a:r>
          </a:p>
        </p:txBody>
      </p:sp>
      <p:sp>
        <p:nvSpPr>
          <p:cNvPr id="8" name="chart 2">
            <a:extLst>
              <a:ext uri="{FF2B5EF4-FFF2-40B4-BE49-F238E27FC236}">
                <a16:creationId xmlns:a16="http://schemas.microsoft.com/office/drawing/2014/main" id="{5D00C4C4-21BC-E403-5F96-529ED4036FC3}"/>
              </a:ext>
            </a:extLst>
          </p:cNvPr>
          <p:cNvSpPr>
            <a:spLocks noGrp="1"/>
          </p:cNvSpPr>
          <p:nvPr>
            <p:ph type="chart" sz="quarter" idx="41"/>
          </p:nvPr>
        </p:nvSpPr>
        <p:spPr>
          <a:xfrm>
            <a:off x="6421138" y="1980000"/>
            <a:ext cx="5220000" cy="1296000"/>
          </a:xfrm>
        </p:spPr>
        <p:txBody>
          <a:bodyPr/>
          <a:lstStyle/>
          <a:p>
            <a:r>
              <a:rPr lang="de-DE"/>
              <a:t>Diagramm durch Klicken auf Symbol hinzufügen</a:t>
            </a:r>
            <a:endParaRPr lang="en-US" dirty="0"/>
          </a:p>
        </p:txBody>
      </p:sp>
      <p:sp>
        <p:nvSpPr>
          <p:cNvPr id="9" name="subhead 2">
            <a:extLst>
              <a:ext uri="{FF2B5EF4-FFF2-40B4-BE49-F238E27FC236}">
                <a16:creationId xmlns:a16="http://schemas.microsoft.com/office/drawing/2014/main" id="{858F21A3-1754-7E4B-BF80-EAFA3BAD0A95}"/>
              </a:ext>
            </a:extLst>
          </p:cNvPr>
          <p:cNvSpPr>
            <a:spLocks noGrp="1"/>
          </p:cNvSpPr>
          <p:nvPr>
            <p:ph sz="quarter" idx="22"/>
          </p:nvPr>
        </p:nvSpPr>
        <p:spPr>
          <a:xfrm>
            <a:off x="6419111" y="1475999"/>
            <a:ext cx="5219751"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5" name="source 1">
            <a:extLst>
              <a:ext uri="{FF2B5EF4-FFF2-40B4-BE49-F238E27FC236}">
                <a16:creationId xmlns:a16="http://schemas.microsoft.com/office/drawing/2014/main" id="{5B60FFDD-783E-4EE9-72B9-056E60C15987}"/>
              </a:ext>
            </a:extLst>
          </p:cNvPr>
          <p:cNvSpPr>
            <a:spLocks noGrp="1"/>
          </p:cNvSpPr>
          <p:nvPr>
            <p:ph type="body" idx="45" hasCustomPrompt="1"/>
          </p:nvPr>
        </p:nvSpPr>
        <p:spPr>
          <a:xfrm>
            <a:off x="540000" y="3348000"/>
            <a:ext cx="5219750" cy="360000"/>
          </a:xfrm>
        </p:spPr>
        <p:txBody>
          <a:bodyPr tIns="72000" anchor="b"/>
          <a:lstStyle>
            <a:lvl1pPr marL="0" indent="0">
              <a:lnSpc>
                <a:spcPts val="1000"/>
              </a:lnSpc>
              <a:spcBef>
                <a:spcPts val="0"/>
              </a:spcBef>
              <a:spcAft>
                <a:spcPts val="0"/>
              </a:spcAft>
              <a:buNone/>
              <a:defRPr sz="9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br>
              <a:rPr lang="en-US" dirty="0"/>
            </a:br>
            <a:r>
              <a:rPr lang="en-US" dirty="0"/>
              <a:t>edit Master text styles</a:t>
            </a:r>
          </a:p>
        </p:txBody>
      </p:sp>
      <p:sp>
        <p:nvSpPr>
          <p:cNvPr id="2" name="chart 1">
            <a:extLst>
              <a:ext uri="{FF2B5EF4-FFF2-40B4-BE49-F238E27FC236}">
                <a16:creationId xmlns:a16="http://schemas.microsoft.com/office/drawing/2014/main" id="{0E7FF249-AE2B-F99D-1704-29F12F21612F}"/>
              </a:ext>
            </a:extLst>
          </p:cNvPr>
          <p:cNvSpPr>
            <a:spLocks noGrp="1"/>
          </p:cNvSpPr>
          <p:nvPr>
            <p:ph type="chart" sz="quarter" idx="39"/>
          </p:nvPr>
        </p:nvSpPr>
        <p:spPr>
          <a:xfrm>
            <a:off x="539750" y="1980000"/>
            <a:ext cx="5220000" cy="1296000"/>
          </a:xfrm>
        </p:spPr>
        <p:txBody>
          <a:bodyPr/>
          <a:lstStyle/>
          <a:p>
            <a:r>
              <a:rPr lang="de-DE"/>
              <a:t>Diagramm durch Klicken auf Symbol hinzufügen</a:t>
            </a:r>
            <a:endParaRPr lang="en-US"/>
          </a:p>
        </p:txBody>
      </p:sp>
      <p:sp>
        <p:nvSpPr>
          <p:cNvPr id="10" name="subhead 1">
            <a:extLst>
              <a:ext uri="{FF2B5EF4-FFF2-40B4-BE49-F238E27FC236}">
                <a16:creationId xmlns:a16="http://schemas.microsoft.com/office/drawing/2014/main" id="{6648AFFC-B560-7A8C-6FD2-C5BD8D57A44E}"/>
              </a:ext>
            </a:extLst>
          </p:cNvPr>
          <p:cNvSpPr>
            <a:spLocks noGrp="1"/>
          </p:cNvSpPr>
          <p:nvPr>
            <p:ph sz="quarter" idx="15"/>
          </p:nvPr>
        </p:nvSpPr>
        <p:spPr>
          <a:xfrm>
            <a:off x="540000" y="1475999"/>
            <a:ext cx="52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23" name="navigation">
            <a:extLst>
              <a:ext uri="{FF2B5EF4-FFF2-40B4-BE49-F238E27FC236}">
                <a16:creationId xmlns:a16="http://schemas.microsoft.com/office/drawing/2014/main" id="{1BF292E6-EEBC-66B0-FC89-42A86C07805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43116836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   059 : 6 charts : 6 sources">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EA4E6AC3-01D5-9C31-52D4-0BB693B8DABC}"/>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defRPr lang="en-GB" smtClean="0"/>
            </a:lvl1pPr>
          </a:lstStyle>
          <a:p>
            <a:fld id="{FA573BCF-C0F1-4720-B5E7-944FE630E67D}" type="slidenum">
              <a:rPr lang="en-GB" smtClean="0"/>
              <a:pPr/>
              <a:t>‹Nr.›</a:t>
            </a:fld>
            <a:endParaRPr lang="en-GB" dirty="0"/>
          </a:p>
        </p:txBody>
      </p:sp>
      <p:sp>
        <p:nvSpPr>
          <p:cNvPr id="5" name="footer">
            <a:extLst>
              <a:ext uri="{FF2B5EF4-FFF2-40B4-BE49-F238E27FC236}">
                <a16:creationId xmlns:a16="http://schemas.microsoft.com/office/drawing/2014/main" id="{9459A81C-BC10-1FFD-D1F6-FB6EC1B07A71}"/>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1"/>
                </a:solidFill>
              </a:defRPr>
            </a:lvl1pPr>
          </a:lstStyle>
          <a:p>
            <a:r>
              <a:rPr lang="en-GB"/>
              <a:t>valantic layout samples Route B</a:t>
            </a:r>
            <a:endParaRPr lang="nl-NL" dirty="0"/>
          </a:p>
        </p:txBody>
      </p:sp>
      <p:sp>
        <p:nvSpPr>
          <p:cNvPr id="6" name="date">
            <a:extLst>
              <a:ext uri="{FF2B5EF4-FFF2-40B4-BE49-F238E27FC236}">
                <a16:creationId xmlns:a16="http://schemas.microsoft.com/office/drawing/2014/main" id="{2495416B-3F05-B437-A185-4B84C57A4D03}"/>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15" name="source 6">
            <a:extLst>
              <a:ext uri="{FF2B5EF4-FFF2-40B4-BE49-F238E27FC236}">
                <a16:creationId xmlns:a16="http://schemas.microsoft.com/office/drawing/2014/main" id="{8F56A5D2-C500-8DDB-E8AB-1B5D46C0FF58}"/>
              </a:ext>
            </a:extLst>
          </p:cNvPr>
          <p:cNvSpPr>
            <a:spLocks noGrp="1"/>
          </p:cNvSpPr>
          <p:nvPr>
            <p:ph type="body" sz="quarter" idx="61"/>
          </p:nvPr>
        </p:nvSpPr>
        <p:spPr>
          <a:xfrm>
            <a:off x="8208250" y="5831998"/>
            <a:ext cx="3419750" cy="360001"/>
          </a:xfrm>
        </p:spPr>
        <p:txBody>
          <a:bodyPr anchor="b"/>
          <a:lstStyle>
            <a:lvl1pPr>
              <a:lnSpc>
                <a:spcPts val="1000"/>
              </a:lnSpc>
              <a:spcBef>
                <a:spcPts val="0"/>
              </a:spcBef>
              <a:spcAft>
                <a:spcPts val="0"/>
              </a:spcAft>
              <a:defRPr sz="900">
                <a:solidFill>
                  <a:schemeClr val="accent4">
                    <a:lumMod val="75000"/>
                  </a:schemeClr>
                </a:solidFill>
              </a:defRPr>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26" name="chart 6">
            <a:extLst>
              <a:ext uri="{FF2B5EF4-FFF2-40B4-BE49-F238E27FC236}">
                <a16:creationId xmlns:a16="http://schemas.microsoft.com/office/drawing/2014/main" id="{930E671C-3071-2E3F-F5BF-0C33FDE4DF9D}"/>
              </a:ext>
            </a:extLst>
          </p:cNvPr>
          <p:cNvSpPr>
            <a:spLocks noGrp="1"/>
          </p:cNvSpPr>
          <p:nvPr>
            <p:ph type="chart" sz="quarter" idx="54"/>
          </p:nvPr>
        </p:nvSpPr>
        <p:spPr>
          <a:xfrm>
            <a:off x="8208000" y="4463624"/>
            <a:ext cx="3420000" cy="1296375"/>
          </a:xfrm>
        </p:spPr>
        <p:txBody>
          <a:bodyPr/>
          <a:lstStyle/>
          <a:p>
            <a:r>
              <a:rPr lang="de-DE"/>
              <a:t>Diagramm durch Klicken auf Symbol hinzufügen</a:t>
            </a:r>
            <a:endParaRPr lang="en-US" dirty="0"/>
          </a:p>
        </p:txBody>
      </p:sp>
      <p:sp>
        <p:nvSpPr>
          <p:cNvPr id="27" name="subhead 6">
            <a:extLst>
              <a:ext uri="{FF2B5EF4-FFF2-40B4-BE49-F238E27FC236}">
                <a16:creationId xmlns:a16="http://schemas.microsoft.com/office/drawing/2014/main" id="{FAAA6209-68D0-2C83-168B-DC79F5519490}"/>
              </a:ext>
            </a:extLst>
          </p:cNvPr>
          <p:cNvSpPr>
            <a:spLocks noGrp="1"/>
          </p:cNvSpPr>
          <p:nvPr>
            <p:ph sz="quarter" idx="55"/>
          </p:nvPr>
        </p:nvSpPr>
        <p:spPr>
          <a:xfrm>
            <a:off x="8208000" y="3960000"/>
            <a:ext cx="3420000"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4" name="source 5">
            <a:extLst>
              <a:ext uri="{FF2B5EF4-FFF2-40B4-BE49-F238E27FC236}">
                <a16:creationId xmlns:a16="http://schemas.microsoft.com/office/drawing/2014/main" id="{EABA3D9B-B762-2DDE-46B3-8190AAE57AA5}"/>
              </a:ext>
            </a:extLst>
          </p:cNvPr>
          <p:cNvSpPr>
            <a:spLocks noGrp="1"/>
          </p:cNvSpPr>
          <p:nvPr>
            <p:ph type="body" sz="quarter" idx="60"/>
          </p:nvPr>
        </p:nvSpPr>
        <p:spPr>
          <a:xfrm>
            <a:off x="4374250" y="5831998"/>
            <a:ext cx="3419750" cy="360001"/>
          </a:xfrm>
        </p:spPr>
        <p:txBody>
          <a:bodyPr anchor="b"/>
          <a:lstStyle>
            <a:lvl1pPr>
              <a:lnSpc>
                <a:spcPts val="1000"/>
              </a:lnSpc>
              <a:spcBef>
                <a:spcPts val="0"/>
              </a:spcBef>
              <a:spcAft>
                <a:spcPts val="0"/>
              </a:spcAft>
              <a:defRPr sz="900">
                <a:solidFill>
                  <a:schemeClr val="accent4">
                    <a:lumMod val="75000"/>
                  </a:schemeClr>
                </a:solidFill>
              </a:defRPr>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16" name="chart 5">
            <a:extLst>
              <a:ext uri="{FF2B5EF4-FFF2-40B4-BE49-F238E27FC236}">
                <a16:creationId xmlns:a16="http://schemas.microsoft.com/office/drawing/2014/main" id="{48A1718F-E6A1-2D1D-F320-0C14AC215E7A}"/>
              </a:ext>
            </a:extLst>
          </p:cNvPr>
          <p:cNvSpPr>
            <a:spLocks noGrp="1"/>
          </p:cNvSpPr>
          <p:nvPr>
            <p:ph type="chart" sz="quarter" idx="46"/>
          </p:nvPr>
        </p:nvSpPr>
        <p:spPr>
          <a:xfrm>
            <a:off x="4374000" y="4463624"/>
            <a:ext cx="3420000" cy="1296375"/>
          </a:xfrm>
        </p:spPr>
        <p:txBody>
          <a:bodyPr/>
          <a:lstStyle/>
          <a:p>
            <a:r>
              <a:rPr lang="de-DE"/>
              <a:t>Diagramm durch Klicken auf Symbol hinzufügen</a:t>
            </a:r>
            <a:endParaRPr lang="en-US" dirty="0"/>
          </a:p>
        </p:txBody>
      </p:sp>
      <p:sp>
        <p:nvSpPr>
          <p:cNvPr id="12" name="subhead 5">
            <a:extLst>
              <a:ext uri="{FF2B5EF4-FFF2-40B4-BE49-F238E27FC236}">
                <a16:creationId xmlns:a16="http://schemas.microsoft.com/office/drawing/2014/main" id="{AB1DB39B-3426-249A-289B-836057BADA96}"/>
              </a:ext>
            </a:extLst>
          </p:cNvPr>
          <p:cNvSpPr>
            <a:spLocks noGrp="1"/>
          </p:cNvSpPr>
          <p:nvPr>
            <p:ph sz="quarter" idx="48"/>
          </p:nvPr>
        </p:nvSpPr>
        <p:spPr>
          <a:xfrm>
            <a:off x="4374000" y="3960000"/>
            <a:ext cx="3420000"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3" name="source 4">
            <a:extLst>
              <a:ext uri="{FF2B5EF4-FFF2-40B4-BE49-F238E27FC236}">
                <a16:creationId xmlns:a16="http://schemas.microsoft.com/office/drawing/2014/main" id="{851F35E1-02AD-CE6B-FC90-B3F9827B3019}"/>
              </a:ext>
            </a:extLst>
          </p:cNvPr>
          <p:cNvSpPr>
            <a:spLocks noGrp="1"/>
          </p:cNvSpPr>
          <p:nvPr>
            <p:ph type="body" sz="quarter" idx="59"/>
          </p:nvPr>
        </p:nvSpPr>
        <p:spPr>
          <a:xfrm>
            <a:off x="540000" y="5831998"/>
            <a:ext cx="3419750" cy="360001"/>
          </a:xfrm>
        </p:spPr>
        <p:txBody>
          <a:bodyPr anchor="b"/>
          <a:lstStyle>
            <a:lvl1pPr>
              <a:lnSpc>
                <a:spcPts val="1000"/>
              </a:lnSpc>
              <a:spcBef>
                <a:spcPts val="0"/>
              </a:spcBef>
              <a:spcAft>
                <a:spcPts val="0"/>
              </a:spcAft>
              <a:defRPr sz="900">
                <a:solidFill>
                  <a:schemeClr val="accent4">
                    <a:lumMod val="75000"/>
                  </a:schemeClr>
                </a:solidFill>
              </a:defRPr>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18" name="chart 4">
            <a:extLst>
              <a:ext uri="{FF2B5EF4-FFF2-40B4-BE49-F238E27FC236}">
                <a16:creationId xmlns:a16="http://schemas.microsoft.com/office/drawing/2014/main" id="{41B73787-9571-1692-E61E-A393F7C9A595}"/>
              </a:ext>
            </a:extLst>
          </p:cNvPr>
          <p:cNvSpPr>
            <a:spLocks noGrp="1"/>
          </p:cNvSpPr>
          <p:nvPr>
            <p:ph type="chart" sz="quarter" idx="47"/>
          </p:nvPr>
        </p:nvSpPr>
        <p:spPr>
          <a:xfrm>
            <a:off x="539750" y="4463624"/>
            <a:ext cx="3420000" cy="1296375"/>
          </a:xfrm>
        </p:spPr>
        <p:txBody>
          <a:bodyPr/>
          <a:lstStyle/>
          <a:p>
            <a:r>
              <a:rPr lang="de-DE"/>
              <a:t>Diagramm durch Klicken auf Symbol hinzufügen</a:t>
            </a:r>
            <a:endParaRPr lang="en-US"/>
          </a:p>
        </p:txBody>
      </p:sp>
      <p:sp>
        <p:nvSpPr>
          <p:cNvPr id="13" name="subhead 4">
            <a:extLst>
              <a:ext uri="{FF2B5EF4-FFF2-40B4-BE49-F238E27FC236}">
                <a16:creationId xmlns:a16="http://schemas.microsoft.com/office/drawing/2014/main" id="{19C3382C-9D23-42CC-0BBA-D002F90C4789}"/>
              </a:ext>
            </a:extLst>
          </p:cNvPr>
          <p:cNvSpPr>
            <a:spLocks noGrp="1"/>
          </p:cNvSpPr>
          <p:nvPr>
            <p:ph sz="quarter" idx="49"/>
          </p:nvPr>
        </p:nvSpPr>
        <p:spPr>
          <a:xfrm>
            <a:off x="540000" y="3960000"/>
            <a:ext cx="342000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34" name="source 3">
            <a:extLst>
              <a:ext uri="{FF2B5EF4-FFF2-40B4-BE49-F238E27FC236}">
                <a16:creationId xmlns:a16="http://schemas.microsoft.com/office/drawing/2014/main" id="{A14D683B-2D9F-737B-80CD-47DAEC94DD8C}"/>
              </a:ext>
            </a:extLst>
          </p:cNvPr>
          <p:cNvSpPr>
            <a:spLocks noGrp="1"/>
          </p:cNvSpPr>
          <p:nvPr>
            <p:ph type="body" sz="quarter" idx="62"/>
          </p:nvPr>
        </p:nvSpPr>
        <p:spPr>
          <a:xfrm>
            <a:off x="8208250" y="3348000"/>
            <a:ext cx="3419750" cy="360001"/>
          </a:xfrm>
        </p:spPr>
        <p:txBody>
          <a:bodyPr anchor="b"/>
          <a:lstStyle>
            <a:lvl1pPr>
              <a:lnSpc>
                <a:spcPts val="1000"/>
              </a:lnSpc>
              <a:spcBef>
                <a:spcPts val="0"/>
              </a:spcBef>
              <a:spcAft>
                <a:spcPts val="0"/>
              </a:spcAft>
              <a:defRPr sz="900">
                <a:solidFill>
                  <a:schemeClr val="accent4">
                    <a:lumMod val="75000"/>
                  </a:schemeClr>
                </a:solidFill>
              </a:defRPr>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29" name="chart 3">
            <a:extLst>
              <a:ext uri="{FF2B5EF4-FFF2-40B4-BE49-F238E27FC236}">
                <a16:creationId xmlns:a16="http://schemas.microsoft.com/office/drawing/2014/main" id="{E3C33266-60C9-BD98-9A60-D6AEE752F17B}"/>
              </a:ext>
            </a:extLst>
          </p:cNvPr>
          <p:cNvSpPr>
            <a:spLocks noGrp="1"/>
          </p:cNvSpPr>
          <p:nvPr>
            <p:ph type="chart" sz="quarter" idx="57"/>
          </p:nvPr>
        </p:nvSpPr>
        <p:spPr>
          <a:xfrm>
            <a:off x="8208000" y="1979998"/>
            <a:ext cx="3420000" cy="1296375"/>
          </a:xfrm>
        </p:spPr>
        <p:txBody>
          <a:bodyPr/>
          <a:lstStyle/>
          <a:p>
            <a:r>
              <a:rPr lang="de-DE"/>
              <a:t>Diagramm durch Klicken auf Symbol hinzufügen</a:t>
            </a:r>
            <a:endParaRPr lang="en-US" dirty="0"/>
          </a:p>
        </p:txBody>
      </p:sp>
      <p:sp>
        <p:nvSpPr>
          <p:cNvPr id="30" name="subhead 3">
            <a:extLst>
              <a:ext uri="{FF2B5EF4-FFF2-40B4-BE49-F238E27FC236}">
                <a16:creationId xmlns:a16="http://schemas.microsoft.com/office/drawing/2014/main" id="{C0ACC6EA-93BE-FC9F-55CA-1A9F790D24A2}"/>
              </a:ext>
            </a:extLst>
          </p:cNvPr>
          <p:cNvSpPr>
            <a:spLocks noGrp="1"/>
          </p:cNvSpPr>
          <p:nvPr>
            <p:ph sz="quarter" idx="58"/>
          </p:nvPr>
        </p:nvSpPr>
        <p:spPr>
          <a:xfrm>
            <a:off x="8208000" y="1475999"/>
            <a:ext cx="3420000"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35" name="source 2">
            <a:extLst>
              <a:ext uri="{FF2B5EF4-FFF2-40B4-BE49-F238E27FC236}">
                <a16:creationId xmlns:a16="http://schemas.microsoft.com/office/drawing/2014/main" id="{5D3BB801-B53A-AC9D-1898-D1ABDDBC0A00}"/>
              </a:ext>
            </a:extLst>
          </p:cNvPr>
          <p:cNvSpPr>
            <a:spLocks noGrp="1"/>
          </p:cNvSpPr>
          <p:nvPr>
            <p:ph type="body" sz="quarter" idx="63"/>
          </p:nvPr>
        </p:nvSpPr>
        <p:spPr>
          <a:xfrm>
            <a:off x="4374250" y="3348000"/>
            <a:ext cx="3419750" cy="360001"/>
          </a:xfrm>
        </p:spPr>
        <p:txBody>
          <a:bodyPr anchor="b"/>
          <a:lstStyle>
            <a:lvl1pPr>
              <a:lnSpc>
                <a:spcPts val="1000"/>
              </a:lnSpc>
              <a:spcBef>
                <a:spcPts val="0"/>
              </a:spcBef>
              <a:spcAft>
                <a:spcPts val="0"/>
              </a:spcAft>
              <a:defRPr sz="900">
                <a:solidFill>
                  <a:schemeClr val="accent4">
                    <a:lumMod val="75000"/>
                  </a:schemeClr>
                </a:solidFill>
              </a:defRPr>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8" name="chart 2">
            <a:extLst>
              <a:ext uri="{FF2B5EF4-FFF2-40B4-BE49-F238E27FC236}">
                <a16:creationId xmlns:a16="http://schemas.microsoft.com/office/drawing/2014/main" id="{5D00C4C4-21BC-E403-5F96-529ED4036FC3}"/>
              </a:ext>
            </a:extLst>
          </p:cNvPr>
          <p:cNvSpPr>
            <a:spLocks noGrp="1"/>
          </p:cNvSpPr>
          <p:nvPr>
            <p:ph type="chart" sz="quarter" idx="41"/>
          </p:nvPr>
        </p:nvSpPr>
        <p:spPr>
          <a:xfrm>
            <a:off x="4374000" y="1979998"/>
            <a:ext cx="3420000" cy="1296375"/>
          </a:xfrm>
        </p:spPr>
        <p:txBody>
          <a:bodyPr/>
          <a:lstStyle/>
          <a:p>
            <a:r>
              <a:rPr lang="de-DE"/>
              <a:t>Diagramm durch Klicken auf Symbol hinzufügen</a:t>
            </a:r>
            <a:endParaRPr lang="en-US" dirty="0"/>
          </a:p>
        </p:txBody>
      </p:sp>
      <p:sp>
        <p:nvSpPr>
          <p:cNvPr id="9" name="subhead 2">
            <a:extLst>
              <a:ext uri="{FF2B5EF4-FFF2-40B4-BE49-F238E27FC236}">
                <a16:creationId xmlns:a16="http://schemas.microsoft.com/office/drawing/2014/main" id="{8A491A7D-7124-BF7D-B1AB-2BE064DED71E}"/>
              </a:ext>
            </a:extLst>
          </p:cNvPr>
          <p:cNvSpPr>
            <a:spLocks noGrp="1"/>
          </p:cNvSpPr>
          <p:nvPr>
            <p:ph sz="quarter" idx="22"/>
          </p:nvPr>
        </p:nvSpPr>
        <p:spPr>
          <a:xfrm>
            <a:off x="4374000" y="1475999"/>
            <a:ext cx="3420000"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36" name="source 1">
            <a:extLst>
              <a:ext uri="{FF2B5EF4-FFF2-40B4-BE49-F238E27FC236}">
                <a16:creationId xmlns:a16="http://schemas.microsoft.com/office/drawing/2014/main" id="{46217169-63DD-96C6-3236-5CF6FA0C2A18}"/>
              </a:ext>
            </a:extLst>
          </p:cNvPr>
          <p:cNvSpPr>
            <a:spLocks noGrp="1"/>
          </p:cNvSpPr>
          <p:nvPr>
            <p:ph type="body" sz="quarter" idx="64"/>
          </p:nvPr>
        </p:nvSpPr>
        <p:spPr>
          <a:xfrm>
            <a:off x="540000" y="3348000"/>
            <a:ext cx="3419750" cy="360001"/>
          </a:xfrm>
        </p:spPr>
        <p:txBody>
          <a:bodyPr anchor="b"/>
          <a:lstStyle>
            <a:lvl1pPr>
              <a:lnSpc>
                <a:spcPts val="1000"/>
              </a:lnSpc>
              <a:spcBef>
                <a:spcPts val="0"/>
              </a:spcBef>
              <a:spcAft>
                <a:spcPts val="0"/>
              </a:spcAft>
              <a:defRPr sz="900">
                <a:solidFill>
                  <a:schemeClr val="accent4">
                    <a:lumMod val="75000"/>
                  </a:schemeClr>
                </a:solidFill>
              </a:defRPr>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2" name="chart 1">
            <a:extLst>
              <a:ext uri="{FF2B5EF4-FFF2-40B4-BE49-F238E27FC236}">
                <a16:creationId xmlns:a16="http://schemas.microsoft.com/office/drawing/2014/main" id="{0E7FF249-AE2B-F99D-1704-29F12F21612F}"/>
              </a:ext>
            </a:extLst>
          </p:cNvPr>
          <p:cNvSpPr>
            <a:spLocks noGrp="1"/>
          </p:cNvSpPr>
          <p:nvPr>
            <p:ph type="chart" sz="quarter" idx="39"/>
          </p:nvPr>
        </p:nvSpPr>
        <p:spPr>
          <a:xfrm>
            <a:off x="539750" y="1979998"/>
            <a:ext cx="3420000" cy="1296375"/>
          </a:xfrm>
        </p:spPr>
        <p:txBody>
          <a:bodyPr/>
          <a:lstStyle/>
          <a:p>
            <a:r>
              <a:rPr lang="de-DE"/>
              <a:t>Diagramm durch Klicken auf Symbol hinzufügen</a:t>
            </a:r>
            <a:endParaRPr lang="en-US"/>
          </a:p>
        </p:txBody>
      </p:sp>
      <p:sp>
        <p:nvSpPr>
          <p:cNvPr id="10" name="subhead 1">
            <a:extLst>
              <a:ext uri="{FF2B5EF4-FFF2-40B4-BE49-F238E27FC236}">
                <a16:creationId xmlns:a16="http://schemas.microsoft.com/office/drawing/2014/main" id="{0259FA64-9654-3A55-2CD0-0FACFD7183AD}"/>
              </a:ext>
            </a:extLst>
          </p:cNvPr>
          <p:cNvSpPr>
            <a:spLocks noGrp="1"/>
          </p:cNvSpPr>
          <p:nvPr>
            <p:ph sz="quarter" idx="15"/>
          </p:nvPr>
        </p:nvSpPr>
        <p:spPr>
          <a:xfrm>
            <a:off x="540000" y="1475999"/>
            <a:ext cx="342000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20" name="navigation">
            <a:extLst>
              <a:ext uri="{FF2B5EF4-FFF2-40B4-BE49-F238E27FC236}">
                <a16:creationId xmlns:a16="http://schemas.microsoft.com/office/drawing/2014/main" id="{96F0501F-A49E-9A2B-A281-AA6DD7920201}"/>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5022739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   060 : timetabl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EA4E6AC3-01D5-9C31-52D4-0BB693B8DABC}"/>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defRPr lang="en-GB" smtClean="0"/>
            </a:lvl1pPr>
          </a:lstStyle>
          <a:p>
            <a:fld id="{FA573BCF-C0F1-4720-B5E7-944FE630E67D}" type="slidenum">
              <a:rPr lang="en-GB" smtClean="0"/>
              <a:pPr/>
              <a:t>‹Nr.›</a:t>
            </a:fld>
            <a:endParaRPr lang="en-GB" dirty="0"/>
          </a:p>
        </p:txBody>
      </p:sp>
      <p:sp>
        <p:nvSpPr>
          <p:cNvPr id="5" name="footer">
            <a:extLst>
              <a:ext uri="{FF2B5EF4-FFF2-40B4-BE49-F238E27FC236}">
                <a16:creationId xmlns:a16="http://schemas.microsoft.com/office/drawing/2014/main" id="{9459A81C-BC10-1FFD-D1F6-FB6EC1B07A71}"/>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1"/>
                </a:solidFill>
              </a:defRPr>
            </a:lvl1pPr>
          </a:lstStyle>
          <a:p>
            <a:r>
              <a:rPr lang="en-GB"/>
              <a:t>valantic layout samples Route B</a:t>
            </a:r>
            <a:endParaRPr lang="nl-NL" dirty="0"/>
          </a:p>
        </p:txBody>
      </p:sp>
      <p:sp>
        <p:nvSpPr>
          <p:cNvPr id="6" name="date">
            <a:extLst>
              <a:ext uri="{FF2B5EF4-FFF2-40B4-BE49-F238E27FC236}">
                <a16:creationId xmlns:a16="http://schemas.microsoft.com/office/drawing/2014/main" id="{2495416B-3F05-B437-A185-4B84C57A4D03}"/>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2" name="source">
            <a:extLst>
              <a:ext uri="{FF2B5EF4-FFF2-40B4-BE49-F238E27FC236}">
                <a16:creationId xmlns:a16="http://schemas.microsoft.com/office/drawing/2014/main" id="{7C3DC195-6C25-138A-6018-E46ABBE741E0}"/>
              </a:ext>
            </a:extLst>
          </p:cNvPr>
          <p:cNvSpPr>
            <a:spLocks noGrp="1"/>
          </p:cNvSpPr>
          <p:nvPr>
            <p:ph type="body" sz="quarter" idx="57"/>
          </p:nvPr>
        </p:nvSpPr>
        <p:spPr>
          <a:xfrm>
            <a:off x="540000" y="5831998"/>
            <a:ext cx="11124000" cy="360001"/>
          </a:xfrm>
        </p:spPr>
        <p:txBody>
          <a:bodyPr anchor="b"/>
          <a:lstStyle>
            <a:lvl1pPr>
              <a:lnSpc>
                <a:spcPts val="1000"/>
              </a:lnSpc>
              <a:spcBef>
                <a:spcPts val="0"/>
              </a:spcBef>
              <a:spcAft>
                <a:spcPts val="0"/>
              </a:spcAft>
              <a:defRPr sz="900">
                <a:solidFill>
                  <a:schemeClr val="accent4">
                    <a:lumMod val="75000"/>
                  </a:schemeClr>
                </a:solidFill>
              </a:defRPr>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9" name="table">
            <a:extLst>
              <a:ext uri="{FF2B5EF4-FFF2-40B4-BE49-F238E27FC236}">
                <a16:creationId xmlns:a16="http://schemas.microsoft.com/office/drawing/2014/main" id="{CDBF0C3F-C6C8-73BF-3E3E-7D4A763FCCE6}"/>
              </a:ext>
            </a:extLst>
          </p:cNvPr>
          <p:cNvSpPr>
            <a:spLocks noGrp="1"/>
          </p:cNvSpPr>
          <p:nvPr>
            <p:ph type="tbl" sz="quarter" idx="40"/>
          </p:nvPr>
        </p:nvSpPr>
        <p:spPr>
          <a:xfrm>
            <a:off x="540000" y="5562601"/>
            <a:ext cx="11109209" cy="247120"/>
          </a:xfrm>
        </p:spPr>
        <p:txBody>
          <a:bodyPr lIns="0" tIns="0" rIns="0" bIns="0" anchor="b" anchorCtr="0"/>
          <a:lstStyle>
            <a:lvl1pPr>
              <a:defRPr>
                <a:latin typeface="+mj-lt"/>
              </a:defRPr>
            </a:lvl1pPr>
          </a:lstStyle>
          <a:p>
            <a:r>
              <a:rPr lang="de-DE"/>
              <a:t>Tabelle durch Klicken auf Symbol hinzufügen</a:t>
            </a:r>
            <a:endParaRPr lang="en-US"/>
          </a:p>
        </p:txBody>
      </p:sp>
      <p:sp>
        <p:nvSpPr>
          <p:cNvPr id="22" name="text 8">
            <a:extLst>
              <a:ext uri="{FF2B5EF4-FFF2-40B4-BE49-F238E27FC236}">
                <a16:creationId xmlns:a16="http://schemas.microsoft.com/office/drawing/2014/main" id="{92D36E5B-C594-07D8-1556-F61BAD6438FD}"/>
              </a:ext>
            </a:extLst>
          </p:cNvPr>
          <p:cNvSpPr>
            <a:spLocks noGrp="1"/>
          </p:cNvSpPr>
          <p:nvPr>
            <p:ph type="body" sz="quarter" idx="48"/>
          </p:nvPr>
        </p:nvSpPr>
        <p:spPr>
          <a:xfrm>
            <a:off x="10009421"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21" name="text 7">
            <a:extLst>
              <a:ext uri="{FF2B5EF4-FFF2-40B4-BE49-F238E27FC236}">
                <a16:creationId xmlns:a16="http://schemas.microsoft.com/office/drawing/2014/main" id="{D9CE5412-1544-1ACC-B26C-DC64CB412F4E}"/>
              </a:ext>
            </a:extLst>
          </p:cNvPr>
          <p:cNvSpPr>
            <a:spLocks noGrp="1"/>
          </p:cNvSpPr>
          <p:nvPr>
            <p:ph type="body" sz="quarter" idx="47"/>
          </p:nvPr>
        </p:nvSpPr>
        <p:spPr>
          <a:xfrm>
            <a:off x="8758576"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20" name="text 6">
            <a:extLst>
              <a:ext uri="{FF2B5EF4-FFF2-40B4-BE49-F238E27FC236}">
                <a16:creationId xmlns:a16="http://schemas.microsoft.com/office/drawing/2014/main" id="{D7E98674-0010-6A4A-2092-C2342C1C9722}"/>
              </a:ext>
            </a:extLst>
          </p:cNvPr>
          <p:cNvSpPr>
            <a:spLocks noGrp="1"/>
          </p:cNvSpPr>
          <p:nvPr>
            <p:ph type="body" sz="quarter" idx="46"/>
          </p:nvPr>
        </p:nvSpPr>
        <p:spPr>
          <a:xfrm>
            <a:off x="7507731"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19" name="text 5">
            <a:extLst>
              <a:ext uri="{FF2B5EF4-FFF2-40B4-BE49-F238E27FC236}">
                <a16:creationId xmlns:a16="http://schemas.microsoft.com/office/drawing/2014/main" id="{2226BC48-C006-A3AF-A36B-63C2D3CA6BB5}"/>
              </a:ext>
            </a:extLst>
          </p:cNvPr>
          <p:cNvSpPr>
            <a:spLocks noGrp="1"/>
          </p:cNvSpPr>
          <p:nvPr>
            <p:ph type="body" sz="quarter" idx="45"/>
          </p:nvPr>
        </p:nvSpPr>
        <p:spPr>
          <a:xfrm>
            <a:off x="6256886"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18" name="text 4">
            <a:extLst>
              <a:ext uri="{FF2B5EF4-FFF2-40B4-BE49-F238E27FC236}">
                <a16:creationId xmlns:a16="http://schemas.microsoft.com/office/drawing/2014/main" id="{99462D85-7E35-EDFA-C68E-E4A351201D51}"/>
              </a:ext>
            </a:extLst>
          </p:cNvPr>
          <p:cNvSpPr>
            <a:spLocks noGrp="1"/>
          </p:cNvSpPr>
          <p:nvPr>
            <p:ph type="body" sz="quarter" idx="44"/>
          </p:nvPr>
        </p:nvSpPr>
        <p:spPr>
          <a:xfrm>
            <a:off x="5006041"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16" name="text 3">
            <a:extLst>
              <a:ext uri="{FF2B5EF4-FFF2-40B4-BE49-F238E27FC236}">
                <a16:creationId xmlns:a16="http://schemas.microsoft.com/office/drawing/2014/main" id="{5CF659D6-1CA1-113A-C4A5-BC2D1BCCDAB2}"/>
              </a:ext>
            </a:extLst>
          </p:cNvPr>
          <p:cNvSpPr>
            <a:spLocks noGrp="1"/>
          </p:cNvSpPr>
          <p:nvPr>
            <p:ph type="body" sz="quarter" idx="43"/>
          </p:nvPr>
        </p:nvSpPr>
        <p:spPr>
          <a:xfrm>
            <a:off x="3755196"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15" name="text 2">
            <a:extLst>
              <a:ext uri="{FF2B5EF4-FFF2-40B4-BE49-F238E27FC236}">
                <a16:creationId xmlns:a16="http://schemas.microsoft.com/office/drawing/2014/main" id="{98FB9F3D-51E3-DA7A-72C1-9D9EC3D8B156}"/>
              </a:ext>
            </a:extLst>
          </p:cNvPr>
          <p:cNvSpPr>
            <a:spLocks noGrp="1"/>
          </p:cNvSpPr>
          <p:nvPr>
            <p:ph type="body" sz="quarter" idx="42"/>
          </p:nvPr>
        </p:nvSpPr>
        <p:spPr>
          <a:xfrm>
            <a:off x="2504351"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13" name="text 1">
            <a:extLst>
              <a:ext uri="{FF2B5EF4-FFF2-40B4-BE49-F238E27FC236}">
                <a16:creationId xmlns:a16="http://schemas.microsoft.com/office/drawing/2014/main" id="{E103DC66-EA7E-9147-FF36-842134C5C109}"/>
              </a:ext>
            </a:extLst>
          </p:cNvPr>
          <p:cNvSpPr>
            <a:spLocks noGrp="1"/>
          </p:cNvSpPr>
          <p:nvPr>
            <p:ph type="body" sz="quarter" idx="41"/>
          </p:nvPr>
        </p:nvSpPr>
        <p:spPr>
          <a:xfrm>
            <a:off x="1253506"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cxnSp>
        <p:nvCxnSpPr>
          <p:cNvPr id="8" name="line">
            <a:extLst>
              <a:ext uri="{FF2B5EF4-FFF2-40B4-BE49-F238E27FC236}">
                <a16:creationId xmlns:a16="http://schemas.microsoft.com/office/drawing/2014/main" id="{90ADF8F4-69E2-18D8-2A65-38E33E06BD05}"/>
              </a:ext>
            </a:extLst>
          </p:cNvPr>
          <p:cNvCxnSpPr/>
          <p:nvPr/>
        </p:nvCxnSpPr>
        <p:spPr>
          <a:xfrm>
            <a:off x="550863" y="3472812"/>
            <a:ext cx="11109209" cy="0"/>
          </a:xfrm>
          <a:prstGeom prst="line">
            <a:avLst/>
          </a:prstGeom>
          <a:ln w="1905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56" name="text 8">
            <a:extLst>
              <a:ext uri="{FF2B5EF4-FFF2-40B4-BE49-F238E27FC236}">
                <a16:creationId xmlns:a16="http://schemas.microsoft.com/office/drawing/2014/main" id="{03C59CD8-6B8F-4E44-062C-C6CB0D46E795}"/>
              </a:ext>
            </a:extLst>
          </p:cNvPr>
          <p:cNvSpPr>
            <a:spLocks noGrp="1"/>
          </p:cNvSpPr>
          <p:nvPr>
            <p:ph type="body" sz="quarter" idx="56"/>
          </p:nvPr>
        </p:nvSpPr>
        <p:spPr>
          <a:xfrm>
            <a:off x="10009421"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55" name="text 7">
            <a:extLst>
              <a:ext uri="{FF2B5EF4-FFF2-40B4-BE49-F238E27FC236}">
                <a16:creationId xmlns:a16="http://schemas.microsoft.com/office/drawing/2014/main" id="{1CAE7171-408D-2DAC-8E3E-1F3F57CF23DE}"/>
              </a:ext>
            </a:extLst>
          </p:cNvPr>
          <p:cNvSpPr>
            <a:spLocks noGrp="1"/>
          </p:cNvSpPr>
          <p:nvPr>
            <p:ph type="body" sz="quarter" idx="55"/>
          </p:nvPr>
        </p:nvSpPr>
        <p:spPr>
          <a:xfrm>
            <a:off x="8758576"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54" name="text 6">
            <a:extLst>
              <a:ext uri="{FF2B5EF4-FFF2-40B4-BE49-F238E27FC236}">
                <a16:creationId xmlns:a16="http://schemas.microsoft.com/office/drawing/2014/main" id="{C6532634-485C-EBC5-74B9-6AD575B42BA8}"/>
              </a:ext>
            </a:extLst>
          </p:cNvPr>
          <p:cNvSpPr>
            <a:spLocks noGrp="1"/>
          </p:cNvSpPr>
          <p:nvPr>
            <p:ph type="body" sz="quarter" idx="54"/>
          </p:nvPr>
        </p:nvSpPr>
        <p:spPr>
          <a:xfrm>
            <a:off x="7507731"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53" name="text 5">
            <a:extLst>
              <a:ext uri="{FF2B5EF4-FFF2-40B4-BE49-F238E27FC236}">
                <a16:creationId xmlns:a16="http://schemas.microsoft.com/office/drawing/2014/main" id="{11051CCF-88A7-6245-A7ED-5E92BCF254C4}"/>
              </a:ext>
            </a:extLst>
          </p:cNvPr>
          <p:cNvSpPr>
            <a:spLocks noGrp="1"/>
          </p:cNvSpPr>
          <p:nvPr>
            <p:ph type="body" sz="quarter" idx="53"/>
          </p:nvPr>
        </p:nvSpPr>
        <p:spPr>
          <a:xfrm>
            <a:off x="6256886"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52" name="text 4">
            <a:extLst>
              <a:ext uri="{FF2B5EF4-FFF2-40B4-BE49-F238E27FC236}">
                <a16:creationId xmlns:a16="http://schemas.microsoft.com/office/drawing/2014/main" id="{35874900-7F40-5E32-DA1A-B532F6E6B573}"/>
              </a:ext>
            </a:extLst>
          </p:cNvPr>
          <p:cNvSpPr>
            <a:spLocks noGrp="1"/>
          </p:cNvSpPr>
          <p:nvPr>
            <p:ph type="body" sz="quarter" idx="52"/>
          </p:nvPr>
        </p:nvSpPr>
        <p:spPr>
          <a:xfrm>
            <a:off x="5006041"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51" name="text 3">
            <a:extLst>
              <a:ext uri="{FF2B5EF4-FFF2-40B4-BE49-F238E27FC236}">
                <a16:creationId xmlns:a16="http://schemas.microsoft.com/office/drawing/2014/main" id="{AC0D6FC5-8114-4F86-7A13-896396BC3B4B}"/>
              </a:ext>
            </a:extLst>
          </p:cNvPr>
          <p:cNvSpPr>
            <a:spLocks noGrp="1"/>
          </p:cNvSpPr>
          <p:nvPr>
            <p:ph type="body" sz="quarter" idx="51"/>
          </p:nvPr>
        </p:nvSpPr>
        <p:spPr>
          <a:xfrm>
            <a:off x="3755196"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50" name="text 2">
            <a:extLst>
              <a:ext uri="{FF2B5EF4-FFF2-40B4-BE49-F238E27FC236}">
                <a16:creationId xmlns:a16="http://schemas.microsoft.com/office/drawing/2014/main" id="{51B9D552-7689-4FAE-5FF0-1E53A33BFB83}"/>
              </a:ext>
            </a:extLst>
          </p:cNvPr>
          <p:cNvSpPr>
            <a:spLocks noGrp="1"/>
          </p:cNvSpPr>
          <p:nvPr>
            <p:ph type="body" sz="quarter" idx="50"/>
          </p:nvPr>
        </p:nvSpPr>
        <p:spPr>
          <a:xfrm>
            <a:off x="2504351"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49" name="text 1">
            <a:extLst>
              <a:ext uri="{FF2B5EF4-FFF2-40B4-BE49-F238E27FC236}">
                <a16:creationId xmlns:a16="http://schemas.microsoft.com/office/drawing/2014/main" id="{9791F7F5-F90B-F440-B357-05CFDFC6E704}"/>
              </a:ext>
            </a:extLst>
          </p:cNvPr>
          <p:cNvSpPr>
            <a:spLocks noGrp="1"/>
          </p:cNvSpPr>
          <p:nvPr>
            <p:ph type="body" sz="quarter" idx="49"/>
          </p:nvPr>
        </p:nvSpPr>
        <p:spPr>
          <a:xfrm>
            <a:off x="1253506"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14" name="navigation">
            <a:extLst>
              <a:ext uri="{FF2B5EF4-FFF2-40B4-BE49-F238E27FC236}">
                <a16:creationId xmlns:a16="http://schemas.microsoft.com/office/drawing/2014/main" id="{832A4627-82A2-D49F-2A94-FF992344FD59}"/>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71822923"/>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please do not use : only guidiance placeholder">
    <p:bg>
      <p:bgPr>
        <a:solidFill>
          <a:schemeClr val="bg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7D3CCF1-660E-7AB1-06AD-93225FDD1D47}"/>
              </a:ext>
            </a:extLst>
          </p:cNvPr>
          <p:cNvSpPr>
            <a:spLocks noGrp="1"/>
          </p:cNvSpPr>
          <p:nvPr>
            <p:ph type="title"/>
          </p:nvPr>
        </p:nvSpPr>
        <p:spPr>
          <a:xfrm>
            <a:off x="550863" y="1484312"/>
            <a:ext cx="11088000" cy="4662751"/>
          </a:xfrm>
        </p:spPr>
        <p:txBody>
          <a:bodyPr vert="horz"/>
          <a:lstStyle>
            <a:lvl1pPr>
              <a:lnSpc>
                <a:spcPct val="100000"/>
              </a:lnSpc>
              <a:defRPr lang="de-DE" sz="11000" b="0" kern="1200" spc="0" baseline="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de-DE"/>
              <a:t>Mastertitelformat bearbeiten</a:t>
            </a:r>
            <a:endParaRPr lang="de-DE" dirty="0"/>
          </a:p>
        </p:txBody>
      </p:sp>
    </p:spTree>
    <p:extLst>
      <p:ext uri="{BB962C8B-B14F-4D97-AF65-F5344CB8AC3E}">
        <p14:creationId xmlns:p14="http://schemas.microsoft.com/office/powerpoint/2010/main" val="1154820315"/>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4_Titel + Inhalt">
    <p:spTree>
      <p:nvGrpSpPr>
        <p:cNvPr id="1" name=""/>
        <p:cNvGrpSpPr/>
        <p:nvPr/>
      </p:nvGrpSpPr>
      <p:grpSpPr>
        <a:xfrm>
          <a:off x="0" y="0"/>
          <a:ext cx="0" cy="0"/>
          <a:chOff x="0" y="0"/>
          <a:chExt cx="0" cy="0"/>
        </a:xfrm>
      </p:grpSpPr>
      <p:sp>
        <p:nvSpPr>
          <p:cNvPr id="3" name="Textplatzhalter 2"/>
          <p:cNvSpPr>
            <a:spLocks noGrp="1"/>
          </p:cNvSpPr>
          <p:nvPr>
            <p:ph type="body" sz="quarter" idx="22"/>
          </p:nvPr>
        </p:nvSpPr>
        <p:spPr bwMode="gray">
          <a:xfrm>
            <a:off x="406455" y="1484313"/>
            <a:ext cx="11377558" cy="48974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75757"/>
              </a:solidFill>
              <a:effectLst/>
              <a:uLnTx/>
              <a:uFillTx/>
              <a:latin typeface="Segoe UI"/>
              <a:ea typeface="+mn-ea"/>
              <a:cs typeface="+mn-cs"/>
            </a:endParaRPr>
          </a:p>
        </p:txBody>
      </p:sp>
      <p:sp>
        <p:nvSpPr>
          <p:cNvPr id="8" name="Fußzeilenplatzhalter 7"/>
          <p:cNvSpPr>
            <a:spLocks noGrp="1"/>
          </p:cNvSpPr>
          <p:nvPr>
            <p:ph type="ftr" sz="quarter" idx="2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75757"/>
              </a:solidFill>
              <a:effectLst/>
              <a:uLnTx/>
              <a:uFillTx/>
              <a:latin typeface="Segoe UI"/>
              <a:ea typeface="+mn-ea"/>
              <a:cs typeface="+mn-cs"/>
            </a:endParaRPr>
          </a:p>
        </p:txBody>
      </p:sp>
      <p:sp>
        <p:nvSpPr>
          <p:cNvPr id="9" name="Foliennummernplatzhalter 8"/>
          <p:cNvSpPr>
            <a:spLocks noGrp="1"/>
          </p:cNvSpPr>
          <p:nvPr>
            <p:ph type="sldNum" sz="quarter" idx="2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66355A-084C-D24E-9AD2-7E4FC41EA627}" type="slidenum">
              <a:rPr kumimoji="0" lang="en-US" sz="1000" b="0" i="0" u="none" strike="noStrike" kern="1200" cap="none" spc="0" normalizeH="0" baseline="0" noProof="0" smtClean="0">
                <a:ln>
                  <a:noFill/>
                </a:ln>
                <a:solidFill>
                  <a:srgbClr val="575757"/>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a:ln>
                <a:noFill/>
              </a:ln>
              <a:solidFill>
                <a:srgbClr val="575757"/>
              </a:solidFill>
              <a:effectLst/>
              <a:uLnTx/>
              <a:uFillTx/>
              <a:latin typeface="Segoe UI"/>
              <a:ea typeface="+mn-ea"/>
              <a:cs typeface="+mn-cs"/>
            </a:endParaRPr>
          </a:p>
        </p:txBody>
      </p:sp>
      <p:sp>
        <p:nvSpPr>
          <p:cNvPr id="6" name="Textplatzhalter 5"/>
          <p:cNvSpPr>
            <a:spLocks noGrp="1"/>
          </p:cNvSpPr>
          <p:nvPr>
            <p:ph type="body" sz="quarter" idx="27" hasCustomPrompt="1"/>
          </p:nvPr>
        </p:nvSpPr>
        <p:spPr>
          <a:xfrm>
            <a:off x="406454" y="0"/>
            <a:ext cx="7777162" cy="404813"/>
          </a:xfrm>
        </p:spPr>
        <p:txBody>
          <a:bodyPr anchor="b"/>
          <a:lstStyle>
            <a:lvl1pPr>
              <a:defRPr sz="1200">
                <a:solidFill>
                  <a:schemeClr val="tx2"/>
                </a:solidFill>
              </a:defRPr>
            </a:lvl1pPr>
          </a:lstStyle>
          <a:p>
            <a:pPr lvl="0"/>
            <a:r>
              <a:rPr lang="de-DE"/>
              <a:t>1 Kapitelüberschrift hinzufügen</a:t>
            </a:r>
          </a:p>
        </p:txBody>
      </p:sp>
      <p:sp>
        <p:nvSpPr>
          <p:cNvPr id="5" name="Titel 4"/>
          <p:cNvSpPr>
            <a:spLocks noGrp="1"/>
          </p:cNvSpPr>
          <p:nvPr>
            <p:ph type="title"/>
          </p:nvPr>
        </p:nvSpPr>
        <p:spPr>
          <a:xfrm>
            <a:off x="406454" y="404814"/>
            <a:ext cx="7777109" cy="792162"/>
          </a:xfrm>
        </p:spPr>
        <p:txBody>
          <a:bodyPr/>
          <a:lstStyle/>
          <a:p>
            <a:r>
              <a:rPr lang="de-DE"/>
              <a:t>Mastertitelformat bearbeiten</a:t>
            </a:r>
          </a:p>
        </p:txBody>
      </p:sp>
    </p:spTree>
    <p:extLst>
      <p:ext uri="{BB962C8B-B14F-4D97-AF65-F5344CB8AC3E}">
        <p14:creationId xmlns:p14="http://schemas.microsoft.com/office/powerpoint/2010/main" val="231199854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image" Target="../media/image2.svg"/><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slide number">
            <a:extLst>
              <a:ext uri="{FF2B5EF4-FFF2-40B4-BE49-F238E27FC236}">
                <a16:creationId xmlns:a16="http://schemas.microsoft.com/office/drawing/2014/main" id="{1A73C806-0471-0C57-7626-9F1DB61EE031}"/>
              </a:ext>
            </a:extLst>
          </p:cNvPr>
          <p:cNvSpPr>
            <a:spLocks noGrp="1"/>
          </p:cNvSpPr>
          <p:nvPr>
            <p:ph type="sldNum" sz="quarter" idx="4"/>
          </p:nvPr>
        </p:nvSpPr>
        <p:spPr>
          <a:xfrm>
            <a:off x="11353138" y="6385775"/>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dirty="0"/>
          </a:p>
        </p:txBody>
      </p:sp>
      <p:sp>
        <p:nvSpPr>
          <p:cNvPr id="5" name="footer">
            <a:extLst>
              <a:ext uri="{FF2B5EF4-FFF2-40B4-BE49-F238E27FC236}">
                <a16:creationId xmlns:a16="http://schemas.microsoft.com/office/drawing/2014/main" id="{293B2B64-2362-45C8-9E78-5ECAAAF3478D}"/>
              </a:ext>
            </a:extLst>
          </p:cNvPr>
          <p:cNvSpPr>
            <a:spLocks noGrp="1"/>
          </p:cNvSpPr>
          <p:nvPr>
            <p:ph type="ftr" sz="quarter" idx="3"/>
          </p:nvPr>
        </p:nvSpPr>
        <p:spPr>
          <a:xfrm>
            <a:off x="7270749" y="6385775"/>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GB"/>
              <a:t>valantic layout samples Route B</a:t>
            </a:r>
            <a:endParaRPr lang="nl-NL" dirty="0"/>
          </a:p>
        </p:txBody>
      </p:sp>
      <p:sp>
        <p:nvSpPr>
          <p:cNvPr id="4" name="date">
            <a:extLst>
              <a:ext uri="{FF2B5EF4-FFF2-40B4-BE49-F238E27FC236}">
                <a16:creationId xmlns:a16="http://schemas.microsoft.com/office/drawing/2014/main" id="{2CC0954C-56F0-4481-AEFC-476FD5516A05}"/>
              </a:ext>
            </a:extLst>
          </p:cNvPr>
          <p:cNvSpPr>
            <a:spLocks noGrp="1"/>
          </p:cNvSpPr>
          <p:nvPr>
            <p:ph type="dt" sz="half" idx="2"/>
          </p:nvPr>
        </p:nvSpPr>
        <p:spPr>
          <a:xfrm>
            <a:off x="5040000" y="6385775"/>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en-US"/>
              <a:t>April 26 2024</a:t>
            </a:r>
            <a:endParaRPr lang="nl-NL" dirty="0"/>
          </a:p>
        </p:txBody>
      </p:sp>
      <p:sp>
        <p:nvSpPr>
          <p:cNvPr id="3" name="content">
            <a:extLst>
              <a:ext uri="{FF2B5EF4-FFF2-40B4-BE49-F238E27FC236}">
                <a16:creationId xmlns:a16="http://schemas.microsoft.com/office/drawing/2014/main" id="{061B9A90-182E-49A3-8BF5-04F32288137B}"/>
              </a:ext>
            </a:extLst>
          </p:cNvPr>
          <p:cNvSpPr>
            <a:spLocks noGrp="1"/>
          </p:cNvSpPr>
          <p:nvPr>
            <p:ph type="body" idx="1"/>
          </p:nvPr>
        </p:nvSpPr>
        <p:spPr>
          <a:xfrm>
            <a:off x="540000" y="1476000"/>
            <a:ext cx="11088000" cy="4680000"/>
          </a:xfrm>
          <a:prstGeom prst="rect">
            <a:avLst/>
          </a:prstGeom>
          <a:noFill/>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 </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 name="title">
            <a:extLst>
              <a:ext uri="{FF2B5EF4-FFF2-40B4-BE49-F238E27FC236}">
                <a16:creationId xmlns:a16="http://schemas.microsoft.com/office/drawing/2014/main" id="{219B37A3-82F2-45D5-868F-F00F93F6E7B3}"/>
              </a:ext>
            </a:extLst>
          </p:cNvPr>
          <p:cNvSpPr>
            <a:spLocks noGrp="1"/>
          </p:cNvSpPr>
          <p:nvPr>
            <p:ph type="title"/>
          </p:nvPr>
        </p:nvSpPr>
        <p:spPr>
          <a:xfrm>
            <a:off x="540000" y="622301"/>
            <a:ext cx="11088000" cy="648000"/>
          </a:xfrm>
          <a:prstGeom prst="rect">
            <a:avLst/>
          </a:prstGeom>
        </p:spPr>
        <p:txBody>
          <a:bodyPr vert="horz" lIns="0" tIns="0" rIns="0" bIns="0" rtlCol="0" anchor="t">
            <a:noAutofit/>
          </a:bodyPr>
          <a:lstStyle/>
          <a:p>
            <a:endParaRPr lang="nl-NL" noProof="0" dirty="0"/>
          </a:p>
        </p:txBody>
      </p:sp>
      <p:pic>
        <p:nvPicPr>
          <p:cNvPr id="6" name="valantic logo">
            <a:extLst>
              <a:ext uri="{FF2B5EF4-FFF2-40B4-BE49-F238E27FC236}">
                <a16:creationId xmlns:a16="http://schemas.microsoft.com/office/drawing/2014/main" id="{DF3AD36A-3B2E-689C-EDF4-3DB24CF96DB1}"/>
              </a:ext>
            </a:extLst>
          </p:cNvPr>
          <p:cNvPicPr>
            <a:picLocks noChangeAspect="1"/>
          </p:cNvPicPr>
          <p:nvPr/>
        </p:nvPicPr>
        <p:blipFill>
          <a:blip r:embed="rId101">
            <a:extLst>
              <a:ext uri="{96DAC541-7B7A-43D3-8B79-37D633B846F1}">
                <asvg:svgBlip xmlns:asvg="http://schemas.microsoft.com/office/drawing/2016/SVG/main" r:embed="rId102"/>
              </a:ext>
            </a:extLst>
          </a:blip>
          <a:stretch>
            <a:fillRect/>
          </a:stretch>
        </p:blipFill>
        <p:spPr>
          <a:xfrm>
            <a:off x="415887" y="6218848"/>
            <a:ext cx="1169231" cy="450666"/>
          </a:xfrm>
          <a:prstGeom prst="rect">
            <a:avLst/>
          </a:prstGeom>
        </p:spPr>
      </p:pic>
    </p:spTree>
    <p:extLst>
      <p:ext uri="{BB962C8B-B14F-4D97-AF65-F5344CB8AC3E}">
        <p14:creationId xmlns:p14="http://schemas.microsoft.com/office/powerpoint/2010/main" val="800684994"/>
      </p:ext>
    </p:extLst>
  </p:cSld>
  <p:clrMap bg1="lt1" tx1="dk1" bg2="lt2" tx2="dk2" accent1="accent1" accent2="accent2" accent3="accent3" accent4="accent4" accent5="accent5" accent6="accent6" hlink="hlink" folHlink="folHlink"/>
  <p:sldLayoutIdLst>
    <p:sldLayoutId id="2147484901" r:id="rId1"/>
    <p:sldLayoutId id="2147484902" r:id="rId2"/>
    <p:sldLayoutId id="2147484903" r:id="rId3"/>
    <p:sldLayoutId id="2147484904" r:id="rId4"/>
    <p:sldLayoutId id="2147484905" r:id="rId5"/>
    <p:sldLayoutId id="2147484906" r:id="rId6"/>
    <p:sldLayoutId id="2147484907" r:id="rId7"/>
    <p:sldLayoutId id="2147484908" r:id="rId8"/>
    <p:sldLayoutId id="2147484909" r:id="rId9"/>
    <p:sldLayoutId id="2147484910" r:id="rId10"/>
    <p:sldLayoutId id="2147484911" r:id="rId11"/>
    <p:sldLayoutId id="2147484912" r:id="rId12"/>
    <p:sldLayoutId id="2147484913" r:id="rId13"/>
    <p:sldLayoutId id="2147484914" r:id="rId14"/>
    <p:sldLayoutId id="2147484915" r:id="rId15"/>
    <p:sldLayoutId id="2147484916" r:id="rId16"/>
    <p:sldLayoutId id="2147484917" r:id="rId17"/>
    <p:sldLayoutId id="2147484918" r:id="rId18"/>
    <p:sldLayoutId id="2147484919" r:id="rId19"/>
    <p:sldLayoutId id="2147484920" r:id="rId20"/>
    <p:sldLayoutId id="2147484921" r:id="rId21"/>
    <p:sldLayoutId id="2147484922" r:id="rId22"/>
    <p:sldLayoutId id="2147484923" r:id="rId23"/>
    <p:sldLayoutId id="2147484924" r:id="rId24"/>
    <p:sldLayoutId id="2147484925" r:id="rId25"/>
    <p:sldLayoutId id="2147484926" r:id="rId26"/>
    <p:sldLayoutId id="2147484927" r:id="rId27"/>
    <p:sldLayoutId id="2147484928" r:id="rId28"/>
    <p:sldLayoutId id="2147484929" r:id="rId29"/>
    <p:sldLayoutId id="2147484930" r:id="rId30"/>
    <p:sldLayoutId id="2147484931" r:id="rId31"/>
    <p:sldLayoutId id="2147484932" r:id="rId32"/>
    <p:sldLayoutId id="2147484933" r:id="rId33"/>
    <p:sldLayoutId id="2147484934" r:id="rId34"/>
    <p:sldLayoutId id="2147484935" r:id="rId35"/>
    <p:sldLayoutId id="2147484936" r:id="rId36"/>
    <p:sldLayoutId id="2147484937" r:id="rId37"/>
    <p:sldLayoutId id="2147484938" r:id="rId38"/>
    <p:sldLayoutId id="2147484939" r:id="rId39"/>
    <p:sldLayoutId id="2147484940" r:id="rId40"/>
    <p:sldLayoutId id="2147484941" r:id="rId41"/>
    <p:sldLayoutId id="2147484942" r:id="rId42"/>
    <p:sldLayoutId id="2147484943" r:id="rId43"/>
    <p:sldLayoutId id="2147484944" r:id="rId44"/>
    <p:sldLayoutId id="2147484945" r:id="rId45"/>
    <p:sldLayoutId id="2147484946" r:id="rId46"/>
    <p:sldLayoutId id="2147484947" r:id="rId47"/>
    <p:sldLayoutId id="2147484948" r:id="rId48"/>
    <p:sldLayoutId id="2147484949" r:id="rId49"/>
    <p:sldLayoutId id="2147484950" r:id="rId50"/>
    <p:sldLayoutId id="2147484951" r:id="rId51"/>
    <p:sldLayoutId id="2147484952" r:id="rId52"/>
    <p:sldLayoutId id="2147484953" r:id="rId53"/>
    <p:sldLayoutId id="2147484954" r:id="rId54"/>
    <p:sldLayoutId id="2147484955" r:id="rId55"/>
    <p:sldLayoutId id="2147484956" r:id="rId56"/>
    <p:sldLayoutId id="2147484957" r:id="rId57"/>
    <p:sldLayoutId id="2147484958" r:id="rId58"/>
    <p:sldLayoutId id="2147484959" r:id="rId59"/>
    <p:sldLayoutId id="2147484960" r:id="rId60"/>
    <p:sldLayoutId id="2147484961" r:id="rId61"/>
    <p:sldLayoutId id="2147484962" r:id="rId62"/>
    <p:sldLayoutId id="2147484963" r:id="rId63"/>
    <p:sldLayoutId id="2147484964" r:id="rId64"/>
    <p:sldLayoutId id="2147484965" r:id="rId65"/>
    <p:sldLayoutId id="2147484966" r:id="rId66"/>
    <p:sldLayoutId id="2147484967" r:id="rId67"/>
    <p:sldLayoutId id="2147484968" r:id="rId68"/>
    <p:sldLayoutId id="2147484969" r:id="rId69"/>
    <p:sldLayoutId id="2147484970" r:id="rId70"/>
    <p:sldLayoutId id="2147484971" r:id="rId71"/>
    <p:sldLayoutId id="2147484972" r:id="rId72"/>
    <p:sldLayoutId id="2147484973" r:id="rId73"/>
    <p:sldLayoutId id="2147484974" r:id="rId74"/>
    <p:sldLayoutId id="2147484975" r:id="rId75"/>
    <p:sldLayoutId id="2147484976" r:id="rId76"/>
    <p:sldLayoutId id="2147484977" r:id="rId77"/>
    <p:sldLayoutId id="2147484978" r:id="rId78"/>
    <p:sldLayoutId id="2147484979" r:id="rId79"/>
    <p:sldLayoutId id="2147484980" r:id="rId80"/>
    <p:sldLayoutId id="2147484981" r:id="rId81"/>
    <p:sldLayoutId id="2147484982" r:id="rId82"/>
    <p:sldLayoutId id="2147484983" r:id="rId83"/>
    <p:sldLayoutId id="2147484984" r:id="rId84"/>
    <p:sldLayoutId id="2147484985" r:id="rId85"/>
    <p:sldLayoutId id="2147484986" r:id="rId86"/>
    <p:sldLayoutId id="2147484987" r:id="rId87"/>
    <p:sldLayoutId id="2147484988" r:id="rId88"/>
    <p:sldLayoutId id="2147484989" r:id="rId89"/>
    <p:sldLayoutId id="2147484990" r:id="rId90"/>
    <p:sldLayoutId id="2147484991" r:id="rId91"/>
    <p:sldLayoutId id="2147484992" r:id="rId92"/>
    <p:sldLayoutId id="2147484993" r:id="rId93"/>
    <p:sldLayoutId id="2147484994" r:id="rId94"/>
    <p:sldLayoutId id="2147484995" r:id="rId95"/>
    <p:sldLayoutId id="2147484996" r:id="rId96"/>
    <p:sldLayoutId id="2147484997" r:id="rId97"/>
    <p:sldLayoutId id="2147484998" r:id="rId98"/>
    <p:sldLayoutId id="2147484999" r:id="rId99"/>
  </p:sldLayoutIdLst>
  <p:hf hdr="0"/>
  <p:txStyles>
    <p:titleStyle>
      <a:lvl1pPr algn="l" defTabSz="914400" rtl="0" eaLnBrk="1" latinLnBrk="0" hangingPunct="1">
        <a:lnSpc>
          <a:spcPts val="2800"/>
        </a:lnSpc>
        <a:spcBef>
          <a:spcPct val="0"/>
        </a:spcBef>
        <a:buNone/>
        <a:tabLst>
          <a:tab pos="11034713" algn="r"/>
        </a:tabLst>
        <a:defRPr sz="2400" b="0" kern="1200" spc="0" baseline="0">
          <a:solidFill>
            <a:schemeClr val="tx1"/>
          </a:solidFill>
          <a:latin typeface="+mj-lt"/>
          <a:ea typeface="Segoe UI Black" panose="020B0A02040204020203" pitchFamily="34" charset="0"/>
          <a:cs typeface="Segoe UI Light" panose="020B0502040204020203" pitchFamily="34" charset="0"/>
        </a:defRPr>
      </a:lvl1pPr>
    </p:titleStyle>
    <p:bodyStyle>
      <a:lvl1pPr marL="0" indent="0" algn="l" defTabSz="914400" rtl="0" eaLnBrk="1" latinLnBrk="0" hangingPunct="1">
        <a:lnSpc>
          <a:spcPts val="1800"/>
        </a:lnSpc>
        <a:spcBef>
          <a:spcPts val="300"/>
        </a:spcBef>
        <a:spcAft>
          <a:spcPts val="300"/>
        </a:spcAft>
        <a:buClr>
          <a:schemeClr val="accent2"/>
        </a:buClr>
        <a:buSzPct val="100000"/>
        <a:buFont typeface="Verdana" panose="020B0604030504040204" pitchFamily="34" charset="0"/>
        <a:buNone/>
        <a:tabLst>
          <a:tab pos="182563" algn="l"/>
        </a:tabLst>
        <a:defRPr lang="en-US" sz="1400" b="0" kern="1200" baseline="0" noProof="0" dirty="0">
          <a:solidFill>
            <a:schemeClr val="tx2"/>
          </a:solidFill>
          <a:latin typeface="+mn-lt"/>
          <a:ea typeface="+mn-ea"/>
          <a:cs typeface="+mn-cs"/>
        </a:defRPr>
      </a:lvl1pPr>
      <a:lvl2pPr marL="216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kern="1200" dirty="0">
          <a:solidFill>
            <a:schemeClr val="tx2"/>
          </a:solidFill>
          <a:latin typeface="+mn-lt"/>
          <a:ea typeface="+mn-ea"/>
          <a:cs typeface="+mn-cs"/>
        </a:defRPr>
      </a:lvl2pPr>
      <a:lvl3pPr marL="432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b="0" kern="1200" baseline="0" noProof="0" dirty="0" smtClean="0">
          <a:solidFill>
            <a:schemeClr val="tx2"/>
          </a:solidFill>
          <a:latin typeface="+mn-lt"/>
          <a:ea typeface="+mn-ea"/>
          <a:cs typeface="+mn-cs"/>
        </a:defRPr>
      </a:lvl3pPr>
      <a:lvl4pPr marL="648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b="0" kern="1200" cap="none" spc="10" baseline="0" noProof="0" dirty="0" smtClean="0">
          <a:solidFill>
            <a:schemeClr val="tx1"/>
          </a:solidFill>
          <a:latin typeface="+mn-lt"/>
          <a:ea typeface="+mn-ea"/>
          <a:cs typeface="Segoe UI Light" panose="020B0502040204020203" pitchFamily="34" charset="0"/>
        </a:defRPr>
      </a:lvl4pPr>
      <a:lvl5pPr marL="0" indent="0" algn="l" defTabSz="914400" rtl="0" eaLnBrk="1" latinLnBrk="0" hangingPunct="1">
        <a:lnSpc>
          <a:spcPts val="1800"/>
        </a:lnSpc>
        <a:spcBef>
          <a:spcPts val="600"/>
        </a:spcBef>
        <a:spcAft>
          <a:spcPts val="300"/>
        </a:spcAft>
        <a:buFont typeface="Arial" panose="020B0604020202020204" pitchFamily="34" charset="0"/>
        <a:buNone/>
        <a:tabLst>
          <a:tab pos="182563" algn="l"/>
        </a:tabLst>
        <a:defRPr lang="nl-NL" sz="1400" b="0" kern="1200" spc="40" baseline="0" noProof="0" dirty="0">
          <a:gradFill>
            <a:gsLst>
              <a:gs pos="0">
                <a:srgbClr val="FF4B4B"/>
              </a:gs>
              <a:gs pos="100000">
                <a:srgbClr val="FF744F"/>
              </a:gs>
            </a:gsLst>
            <a:lin ang="18900000" scaled="0"/>
          </a:gradFill>
          <a:latin typeface="+mj-lt"/>
          <a:ea typeface="+mn-ea"/>
          <a:cs typeface="+mn-cs"/>
        </a:defRPr>
      </a:lvl5pPr>
      <a:lvl6pPr marL="216000" indent="-216000" algn="l" defTabSz="914400" rtl="0" eaLnBrk="1" latinLnBrk="0" hangingPunct="1">
        <a:lnSpc>
          <a:spcPts val="1800"/>
        </a:lnSpc>
        <a:spcBef>
          <a:spcPts val="300"/>
        </a:spcBef>
        <a:spcAft>
          <a:spcPts val="300"/>
        </a:spcAft>
        <a:buClr>
          <a:schemeClr val="accent1"/>
        </a:buClr>
        <a:buFont typeface="+mj-lt"/>
        <a:buAutoNum type="arabicPeriod"/>
        <a:tabLst>
          <a:tab pos="182563" algn="l"/>
        </a:tabLst>
        <a:defRPr lang="en-US" sz="1400" b="0" kern="1200" cap="none" spc="40" baseline="0" noProof="0" dirty="0">
          <a:solidFill>
            <a:schemeClr val="tx1"/>
          </a:solidFill>
          <a:latin typeface="+mn-lt"/>
          <a:ea typeface="Segoe UI Black" panose="020B0A02040204020203" pitchFamily="34" charset="0"/>
          <a:cs typeface="Segoe UI Light" panose="020B0502040204020203" pitchFamily="34" charset="0"/>
        </a:defRPr>
      </a:lvl6pPr>
      <a:lvl7pPr marL="432000" indent="-216000" algn="l" defTabSz="914400" rtl="0" eaLnBrk="1" latinLnBrk="0" hangingPunct="1">
        <a:lnSpc>
          <a:spcPts val="1800"/>
        </a:lnSpc>
        <a:spcBef>
          <a:spcPts val="300"/>
        </a:spcBef>
        <a:spcAft>
          <a:spcPts val="300"/>
        </a:spcAft>
        <a:buClr>
          <a:schemeClr val="accent1"/>
        </a:buClr>
        <a:buFont typeface="+mj-lt"/>
        <a:buAutoNum type="alphaLcPeriod"/>
        <a:tabLst>
          <a:tab pos="182563" algn="l"/>
        </a:tabLst>
        <a:defRPr lang="nl-NL" sz="1400" kern="1200" noProof="0" dirty="0">
          <a:solidFill>
            <a:schemeClr val="tx2"/>
          </a:solidFill>
          <a:latin typeface="+mn-lt"/>
          <a:ea typeface="+mn-ea"/>
          <a:cs typeface="+mn-cs"/>
        </a:defRPr>
      </a:lvl7pPr>
      <a:lvl8pPr marL="216000" indent="-216000" algn="l" defTabSz="914400" rtl="0" eaLnBrk="1" latinLnBrk="0" hangingPunct="1">
        <a:lnSpc>
          <a:spcPts val="1800"/>
        </a:lnSpc>
        <a:spcBef>
          <a:spcPts val="300"/>
        </a:spcBef>
        <a:spcAft>
          <a:spcPts val="300"/>
        </a:spcAft>
        <a:buClr>
          <a:schemeClr val="tx2"/>
        </a:buClr>
        <a:buFont typeface="Wingdings 3" panose="05040102010807070707" pitchFamily="18" charset="2"/>
        <a:buChar char="g"/>
        <a:tabLst>
          <a:tab pos="182563" algn="l"/>
        </a:tabLst>
        <a:defRPr lang="nl-NL" sz="1400" kern="1200" noProof="0" dirty="0" smtClean="0">
          <a:solidFill>
            <a:schemeClr val="tx2"/>
          </a:solidFill>
          <a:latin typeface="+mn-lt"/>
          <a:ea typeface="+mn-ea"/>
          <a:cs typeface="+mn-cs"/>
        </a:defRPr>
      </a:lvl8pPr>
      <a:lvl9pPr marL="0" indent="0" algn="l" defTabSz="914400" rtl="0" eaLnBrk="1" latinLnBrk="0" hangingPunct="1">
        <a:lnSpc>
          <a:spcPts val="1800"/>
        </a:lnSpc>
        <a:spcBef>
          <a:spcPts val="600"/>
        </a:spcBef>
        <a:spcAft>
          <a:spcPts val="300"/>
        </a:spcAft>
        <a:buClr>
          <a:schemeClr val="accent4"/>
        </a:buClr>
        <a:buFontTx/>
        <a:buNone/>
        <a:tabLst>
          <a:tab pos="182563" algn="l"/>
        </a:tabLst>
        <a:defRPr lang="nl-NL" sz="1400" i="0" kern="1200" cap="all" spc="100" baseline="0" noProof="0" dirty="0" smtClean="0">
          <a:solidFill>
            <a:schemeClr val="tx2"/>
          </a:solidFill>
          <a:latin typeface="+mj-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2" pos="347">
          <p15:clr>
            <a:srgbClr val="F26B43"/>
          </p15:clr>
        </p15:guide>
        <p15:guide id="33" orient="horz" pos="391">
          <p15:clr>
            <a:srgbClr val="5ACBF0"/>
          </p15:clr>
        </p15:guide>
        <p15:guide id="35" orient="horz" pos="935">
          <p15:clr>
            <a:srgbClr val="F26B43"/>
          </p15:clr>
        </p15:guide>
        <p15:guide id="36" pos="7333">
          <p15:clr>
            <a:srgbClr val="F26B43"/>
          </p15:clr>
        </p15:guide>
        <p15:guide id="37" orient="horz" pos="3884">
          <p15:clr>
            <a:srgbClr val="F26B43"/>
          </p15:clr>
        </p15:guide>
        <p15:guide id="38" orient="horz" pos="2954">
          <p15:clr>
            <a:srgbClr val="F26B43"/>
          </p15:clr>
        </p15:guide>
        <p15:guide id="39" orient="horz" pos="125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gi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4.png"/><Relationship Id="rId3" Type="http://schemas.openxmlformats.org/officeDocument/2006/relationships/slideLayout" Target="../slideLayouts/slideLayout3.xml"/><Relationship Id="rId7" Type="http://schemas.openxmlformats.org/officeDocument/2006/relationships/image" Target="../media/image10.png"/><Relationship Id="rId12" Type="http://schemas.openxmlformats.org/officeDocument/2006/relationships/image" Target="../media/image13.svg"/><Relationship Id="rId17" Type="http://schemas.openxmlformats.org/officeDocument/2006/relationships/image" Target="../media/image6.gif"/><Relationship Id="rId2" Type="http://schemas.openxmlformats.org/officeDocument/2006/relationships/tags" Target="../tags/tag4.xml"/><Relationship Id="rId16" Type="http://schemas.openxmlformats.org/officeDocument/2006/relationships/image" Target="../media/image17.svg"/><Relationship Id="rId1" Type="http://schemas.openxmlformats.org/officeDocument/2006/relationships/tags" Target="../tags/tag3.xml"/><Relationship Id="rId6" Type="http://schemas.openxmlformats.org/officeDocument/2006/relationships/image" Target="../media/image9.svg"/><Relationship Id="rId11" Type="http://schemas.openxmlformats.org/officeDocument/2006/relationships/image" Target="../media/image12.png"/><Relationship Id="rId5" Type="http://schemas.openxmlformats.org/officeDocument/2006/relationships/image" Target="../media/image8.png"/><Relationship Id="rId15" Type="http://schemas.openxmlformats.org/officeDocument/2006/relationships/image" Target="../media/image16.png"/><Relationship Id="rId10" Type="http://schemas.openxmlformats.org/officeDocument/2006/relationships/image" Target="../media/image7.emf"/><Relationship Id="rId4" Type="http://schemas.openxmlformats.org/officeDocument/2006/relationships/notesSlide" Target="../notesSlides/notesSlide2.xml"/><Relationship Id="rId9" Type="http://schemas.openxmlformats.org/officeDocument/2006/relationships/oleObject" Target="../embeddings/oleObject2.bin"/><Relationship Id="rId14" Type="http://schemas.openxmlformats.org/officeDocument/2006/relationships/image" Target="../media/image15.svg"/></Relationships>
</file>

<file path=ppt/slides/_rels/slide5.xml.rels><?xml version="1.0" encoding="UTF-8" standalone="yes"?>
<Relationships xmlns="http://schemas.openxmlformats.org/package/2006/relationships"><Relationship Id="rId3" Type="http://schemas.openxmlformats.org/officeDocument/2006/relationships/hyperlink" Target="mailto:hassan.el-zein@orianda.com" TargetMode="External"/><Relationship Id="rId7" Type="http://schemas.openxmlformats.org/officeDocument/2006/relationships/hyperlink" Target="mailto:Marketing@erp.valantic.com" TargetMode="External"/><Relationship Id="rId2" Type="http://schemas.openxmlformats.org/officeDocument/2006/relationships/hyperlink" Target="mailto:timo.rueb@erp.valantic.com" TargetMode="External"/><Relationship Id="rId1" Type="http://schemas.openxmlformats.org/officeDocument/2006/relationships/slideLayout" Target="../slideLayouts/slideLayout89.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B4F447-DBFC-A73E-B48C-52CC20F3D62C}"/>
              </a:ext>
            </a:extLst>
          </p:cNvPr>
          <p:cNvSpPr>
            <a:spLocks noGrp="1"/>
          </p:cNvSpPr>
          <p:nvPr>
            <p:ph type="body" sz="quarter" idx="11"/>
          </p:nvPr>
        </p:nvSpPr>
        <p:spPr/>
        <p:txBody>
          <a:bodyPr/>
          <a:lstStyle/>
          <a:p>
            <a:r>
              <a:rPr lang="de-DE" dirty="0" err="1"/>
              <a:t>GenAI</a:t>
            </a:r>
            <a:r>
              <a:rPr lang="de-DE" dirty="0"/>
              <a:t> x SAP Use Case Template </a:t>
            </a:r>
          </a:p>
        </p:txBody>
      </p:sp>
      <p:sp>
        <p:nvSpPr>
          <p:cNvPr id="3" name="Subtitle 2">
            <a:extLst>
              <a:ext uri="{FF2B5EF4-FFF2-40B4-BE49-F238E27FC236}">
                <a16:creationId xmlns:a16="http://schemas.microsoft.com/office/drawing/2014/main" id="{BD8BB490-DA6E-BA27-BE94-337CB00F772A}"/>
              </a:ext>
            </a:extLst>
          </p:cNvPr>
          <p:cNvSpPr>
            <a:spLocks noGrp="1"/>
          </p:cNvSpPr>
          <p:nvPr>
            <p:ph type="subTitle" idx="1"/>
          </p:nvPr>
        </p:nvSpPr>
        <p:spPr/>
        <p:txBody>
          <a:bodyPr/>
          <a:lstStyle/>
          <a:p>
            <a:r>
              <a:rPr lang="de-DE" dirty="0"/>
              <a:t>21.-24. Januar 2025</a:t>
            </a:r>
          </a:p>
        </p:txBody>
      </p:sp>
      <p:sp>
        <p:nvSpPr>
          <p:cNvPr id="4" name="Title 3">
            <a:extLst>
              <a:ext uri="{FF2B5EF4-FFF2-40B4-BE49-F238E27FC236}">
                <a16:creationId xmlns:a16="http://schemas.microsoft.com/office/drawing/2014/main" id="{13676F5D-6FEE-948D-5B5F-D11157E62A6B}"/>
              </a:ext>
            </a:extLst>
          </p:cNvPr>
          <p:cNvSpPr>
            <a:spLocks noGrp="1"/>
          </p:cNvSpPr>
          <p:nvPr>
            <p:ph type="ctrTitle"/>
          </p:nvPr>
        </p:nvSpPr>
        <p:spPr/>
        <p:txBody>
          <a:bodyPr/>
          <a:lstStyle/>
          <a:p>
            <a:r>
              <a:rPr lang="de-DE" dirty="0"/>
              <a:t>Valantic &amp; SAP AI Hackathon </a:t>
            </a:r>
          </a:p>
        </p:txBody>
      </p:sp>
    </p:spTree>
    <p:extLst>
      <p:ext uri="{BB962C8B-B14F-4D97-AF65-F5344CB8AC3E}">
        <p14:creationId xmlns:p14="http://schemas.microsoft.com/office/powerpoint/2010/main" val="38748181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Inhaltsplatzhalter 4">
            <a:extLst>
              <a:ext uri="{FF2B5EF4-FFF2-40B4-BE49-F238E27FC236}">
                <a16:creationId xmlns:a16="http://schemas.microsoft.com/office/drawing/2014/main" id="{8DD36520-BC13-7331-92EE-7C1200269D0F}"/>
              </a:ext>
            </a:extLst>
          </p:cNvPr>
          <p:cNvSpPr txBox="1">
            <a:spLocks/>
          </p:cNvSpPr>
          <p:nvPr/>
        </p:nvSpPr>
        <p:spPr>
          <a:xfrm>
            <a:off x="540000" y="3904922"/>
            <a:ext cx="10909878" cy="2330777"/>
          </a:xfrm>
          <a:prstGeom prst="rect">
            <a:avLst/>
          </a:prstGeom>
          <a:noFill/>
        </p:spPr>
        <p:txBody>
          <a:bodyPr vert="horz" lIns="0" tIns="0" rIns="0" bIns="0" rtlCol="0">
            <a:noAutofit/>
          </a:bodyPr>
          <a:lstStyle>
            <a:lvl1pPr marL="0" indent="0" algn="l" defTabSz="914400" rtl="0" eaLnBrk="1" latinLnBrk="0" hangingPunct="1">
              <a:lnSpc>
                <a:spcPts val="1800"/>
              </a:lnSpc>
              <a:spcBef>
                <a:spcPts val="300"/>
              </a:spcBef>
              <a:spcAft>
                <a:spcPts val="300"/>
              </a:spcAft>
              <a:buClr>
                <a:schemeClr val="accent2"/>
              </a:buClr>
              <a:buSzPct val="100000"/>
              <a:buFont typeface="Verdana" panose="020B0604030504040204" pitchFamily="34" charset="0"/>
              <a:buNone/>
              <a:tabLst>
                <a:tab pos="182563" algn="l"/>
              </a:tabLst>
              <a:defRPr lang="en-US" sz="1400" b="0" kern="1200" baseline="0" noProof="0" dirty="0" smtClean="0">
                <a:solidFill>
                  <a:schemeClr val="tx2"/>
                </a:solidFill>
                <a:latin typeface="+mn-lt"/>
                <a:ea typeface="+mn-ea"/>
                <a:cs typeface="+mn-cs"/>
              </a:defRPr>
            </a:lvl1pPr>
            <a:lvl2pPr marL="216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kern="1200" dirty="0" smtClean="0">
                <a:solidFill>
                  <a:schemeClr val="tx2"/>
                </a:solidFill>
                <a:latin typeface="+mn-lt"/>
                <a:ea typeface="+mn-ea"/>
                <a:cs typeface="+mn-cs"/>
              </a:defRPr>
            </a:lvl2pPr>
            <a:lvl3pPr marL="432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b="0" kern="1200" baseline="0" noProof="0" dirty="0" smtClean="0">
                <a:solidFill>
                  <a:schemeClr val="tx2"/>
                </a:solidFill>
                <a:latin typeface="+mn-lt"/>
                <a:ea typeface="+mn-ea"/>
                <a:cs typeface="+mn-cs"/>
              </a:defRPr>
            </a:lvl3pPr>
            <a:lvl4pPr marL="648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b="0" kern="1200" cap="none" spc="10" baseline="0" noProof="0" dirty="0" smtClean="0">
                <a:solidFill>
                  <a:schemeClr val="tx1"/>
                </a:solidFill>
                <a:latin typeface="+mn-lt"/>
                <a:ea typeface="+mn-ea"/>
                <a:cs typeface="Segoe UI Light" panose="020B0502040204020203" pitchFamily="34" charset="0"/>
              </a:defRPr>
            </a:lvl4pPr>
            <a:lvl5pPr marL="0" indent="0" algn="l" defTabSz="914400" rtl="0" eaLnBrk="1" latinLnBrk="0" hangingPunct="1">
              <a:lnSpc>
                <a:spcPts val="1800"/>
              </a:lnSpc>
              <a:spcBef>
                <a:spcPts val="600"/>
              </a:spcBef>
              <a:spcAft>
                <a:spcPts val="300"/>
              </a:spcAft>
              <a:buFont typeface="Arial" panose="020B0604020202020204" pitchFamily="34" charset="0"/>
              <a:buNone/>
              <a:tabLst>
                <a:tab pos="182563" algn="l"/>
              </a:tabLst>
              <a:defRPr lang="en-US" sz="1400" b="0" kern="1200" spc="40" baseline="0" noProof="0" dirty="0" smtClean="0">
                <a:gradFill>
                  <a:gsLst>
                    <a:gs pos="0">
                      <a:srgbClr val="FF4B4B"/>
                    </a:gs>
                    <a:gs pos="100000">
                      <a:srgbClr val="FF744F"/>
                    </a:gs>
                  </a:gsLst>
                  <a:lin ang="18900000" scaled="0"/>
                </a:gradFill>
                <a:latin typeface="+mj-lt"/>
                <a:ea typeface="+mn-ea"/>
                <a:cs typeface="+mn-cs"/>
              </a:defRPr>
            </a:lvl5pPr>
            <a:lvl6pPr marL="216000" indent="-216000" algn="l" defTabSz="914400" rtl="0" eaLnBrk="1" latinLnBrk="0" hangingPunct="1">
              <a:lnSpc>
                <a:spcPts val="1800"/>
              </a:lnSpc>
              <a:spcBef>
                <a:spcPts val="300"/>
              </a:spcBef>
              <a:spcAft>
                <a:spcPts val="300"/>
              </a:spcAft>
              <a:buClr>
                <a:schemeClr val="accent1"/>
              </a:buClr>
              <a:buFont typeface="+mj-lt"/>
              <a:buAutoNum type="arabicPeriod"/>
              <a:tabLst>
                <a:tab pos="182563" algn="l"/>
              </a:tabLst>
              <a:defRPr lang="en-US" sz="1400" b="0" kern="1200" cap="none" spc="40" baseline="0" noProof="0" dirty="0" smtClean="0">
                <a:solidFill>
                  <a:schemeClr val="tx1"/>
                </a:solidFill>
                <a:latin typeface="+mn-lt"/>
                <a:ea typeface="Segoe UI Black" panose="020B0A02040204020203" pitchFamily="34" charset="0"/>
                <a:cs typeface="Segoe UI Light" panose="020B0502040204020203" pitchFamily="34" charset="0"/>
              </a:defRPr>
            </a:lvl6pPr>
            <a:lvl7pPr marL="432000" indent="-216000" algn="l" defTabSz="914400" rtl="0" eaLnBrk="1" latinLnBrk="0" hangingPunct="1">
              <a:lnSpc>
                <a:spcPts val="1800"/>
              </a:lnSpc>
              <a:spcBef>
                <a:spcPts val="300"/>
              </a:spcBef>
              <a:spcAft>
                <a:spcPts val="300"/>
              </a:spcAft>
              <a:buClr>
                <a:schemeClr val="accent1"/>
              </a:buClr>
              <a:buFont typeface="+mj-lt"/>
              <a:buAutoNum type="alphaLcPeriod"/>
              <a:tabLst>
                <a:tab pos="182563" algn="l"/>
              </a:tabLst>
              <a:defRPr lang="en-US" sz="1400" kern="1200" noProof="0" dirty="0" smtClean="0">
                <a:solidFill>
                  <a:schemeClr val="tx2"/>
                </a:solidFill>
                <a:latin typeface="+mn-lt"/>
                <a:ea typeface="+mn-ea"/>
                <a:cs typeface="+mn-cs"/>
              </a:defRPr>
            </a:lvl7pPr>
            <a:lvl8pPr marL="216000" indent="-216000" algn="l" defTabSz="914400" rtl="0" eaLnBrk="1" latinLnBrk="0" hangingPunct="1">
              <a:lnSpc>
                <a:spcPts val="1800"/>
              </a:lnSpc>
              <a:spcBef>
                <a:spcPts val="300"/>
              </a:spcBef>
              <a:spcAft>
                <a:spcPts val="300"/>
              </a:spcAft>
              <a:buClr>
                <a:schemeClr val="tx2"/>
              </a:buClr>
              <a:buFont typeface="Wingdings 3" panose="05040102010807070707" pitchFamily="18" charset="2"/>
              <a:buChar char="g"/>
              <a:tabLst>
                <a:tab pos="182563" algn="l"/>
              </a:tabLst>
              <a:defRPr lang="en-US" sz="1400" kern="1200" noProof="0" dirty="0" smtClean="0">
                <a:solidFill>
                  <a:schemeClr val="tx2"/>
                </a:solidFill>
                <a:latin typeface="+mn-lt"/>
                <a:ea typeface="+mn-ea"/>
                <a:cs typeface="+mn-cs"/>
              </a:defRPr>
            </a:lvl8pPr>
            <a:lvl9pPr marL="0" indent="0" algn="l" defTabSz="914400" rtl="0" eaLnBrk="1" latinLnBrk="0" hangingPunct="1">
              <a:lnSpc>
                <a:spcPts val="1800"/>
              </a:lnSpc>
              <a:spcBef>
                <a:spcPts val="600"/>
              </a:spcBef>
              <a:spcAft>
                <a:spcPts val="300"/>
              </a:spcAft>
              <a:buClr>
                <a:schemeClr val="accent4"/>
              </a:buClr>
              <a:buFontTx/>
              <a:buNone/>
              <a:tabLst>
                <a:tab pos="182563" algn="l"/>
              </a:tabLst>
              <a:defRPr lang="en-US" sz="1400" i="0" kern="1200" cap="all" spc="100" baseline="0" noProof="0" dirty="0">
                <a:solidFill>
                  <a:schemeClr val="tx2"/>
                </a:solidFill>
                <a:latin typeface="+mj-lt"/>
                <a:ea typeface="+mn-ea"/>
                <a:cs typeface="+mn-cs"/>
              </a:defRPr>
            </a:lvl9pPr>
          </a:lstStyle>
          <a:p>
            <a:pPr>
              <a:spcBef>
                <a:spcPts val="0"/>
              </a:spcBef>
            </a:pPr>
            <a:r>
              <a:rPr lang="de-DE" sz="1600" dirty="0" err="1">
                <a:solidFill>
                  <a:schemeClr val="tx1"/>
                </a:solidFill>
              </a:rPr>
              <a:t>Szenariotyp</a:t>
            </a:r>
            <a:r>
              <a:rPr lang="de-DE" sz="1600" dirty="0">
                <a:solidFill>
                  <a:schemeClr val="tx1"/>
                </a:solidFill>
              </a:rPr>
              <a:t> (bitte ankreuzen)</a:t>
            </a:r>
          </a:p>
          <a:p>
            <a:pPr>
              <a:spcBef>
                <a:spcPts val="0"/>
              </a:spcBef>
              <a:spcAft>
                <a:spcPts val="600"/>
              </a:spcAft>
            </a:pPr>
            <a:r>
              <a:rPr lang="de-DE" sz="1600" dirty="0">
                <a:solidFill>
                  <a:schemeClr val="tx1"/>
                </a:solidFill>
              </a:rPr>
              <a:t>		Erweiterung und Vereinfachung der bestehenden Funktionalität in der App</a:t>
            </a:r>
          </a:p>
          <a:p>
            <a:pPr>
              <a:spcBef>
                <a:spcPts val="0"/>
              </a:spcBef>
              <a:spcAft>
                <a:spcPts val="600"/>
              </a:spcAft>
            </a:pPr>
            <a:r>
              <a:rPr lang="de-DE" sz="1600" dirty="0">
                <a:solidFill>
                  <a:schemeClr val="tx1"/>
                </a:solidFill>
              </a:rPr>
              <a:t>		Entwicklung einer neuen Funktionalität, die bisher nicht verfügbar war</a:t>
            </a:r>
          </a:p>
          <a:p>
            <a:pPr>
              <a:spcBef>
                <a:spcPts val="0"/>
              </a:spcBef>
              <a:spcAft>
                <a:spcPts val="600"/>
              </a:spcAft>
            </a:pPr>
            <a:r>
              <a:rPr lang="de-DE" sz="1600" dirty="0">
                <a:solidFill>
                  <a:schemeClr val="tx1"/>
                </a:solidFill>
              </a:rPr>
              <a:t>		SAP BTP Use Case Umgebung</a:t>
            </a:r>
          </a:p>
          <a:p>
            <a:pPr>
              <a:spcBef>
                <a:spcPts val="0"/>
              </a:spcBef>
            </a:pPr>
            <a:endParaRPr lang="de-DE" sz="1600" dirty="0">
              <a:solidFill>
                <a:schemeClr val="tx1"/>
              </a:solidFill>
            </a:endParaRPr>
          </a:p>
          <a:p>
            <a:pPr>
              <a:spcBef>
                <a:spcPts val="0"/>
              </a:spcBef>
            </a:pPr>
            <a:r>
              <a:rPr lang="de-DE" sz="1600" dirty="0">
                <a:solidFill>
                  <a:schemeClr val="tx1"/>
                </a:solidFill>
              </a:rPr>
              <a:t>Eigenes Kunden-BTP-Konto vorhanden</a:t>
            </a:r>
          </a:p>
          <a:p>
            <a:pPr>
              <a:spcBef>
                <a:spcPts val="0"/>
              </a:spcBef>
              <a:spcAft>
                <a:spcPts val="600"/>
              </a:spcAft>
            </a:pPr>
            <a:r>
              <a:rPr lang="de-DE" sz="1600" dirty="0">
                <a:solidFill>
                  <a:schemeClr val="tx1"/>
                </a:solidFill>
              </a:rPr>
              <a:t>		SAP Trial Account		</a:t>
            </a:r>
          </a:p>
          <a:p>
            <a:pPr>
              <a:spcBef>
                <a:spcPts val="0"/>
              </a:spcBef>
              <a:spcAft>
                <a:spcPts val="600"/>
              </a:spcAft>
            </a:pPr>
            <a:r>
              <a:rPr lang="de-DE" sz="1600" dirty="0">
                <a:solidFill>
                  <a:schemeClr val="tx1"/>
                </a:solidFill>
              </a:rPr>
              <a:t>		Kundeneigene BTP-Umgebung (Erweitert um Use Case relevante Komponenten</a:t>
            </a:r>
          </a:p>
        </p:txBody>
      </p:sp>
      <p:sp>
        <p:nvSpPr>
          <p:cNvPr id="5" name="Inhaltsplatzhalter 4">
            <a:extLst>
              <a:ext uri="{FF2B5EF4-FFF2-40B4-BE49-F238E27FC236}">
                <a16:creationId xmlns:a16="http://schemas.microsoft.com/office/drawing/2014/main" id="{CB32D5AC-3F1B-EF15-9BF7-6BC81A913611}"/>
              </a:ext>
            </a:extLst>
          </p:cNvPr>
          <p:cNvSpPr>
            <a:spLocks noGrp="1"/>
          </p:cNvSpPr>
          <p:nvPr>
            <p:ph sz="quarter" idx="15"/>
          </p:nvPr>
        </p:nvSpPr>
        <p:spPr>
          <a:xfrm>
            <a:off x="540000" y="2885702"/>
            <a:ext cx="10909878" cy="815692"/>
          </a:xfrm>
        </p:spPr>
        <p:txBody>
          <a:bodyPr/>
          <a:lstStyle/>
          <a:p>
            <a:pPr>
              <a:spcBef>
                <a:spcPts val="0"/>
              </a:spcBef>
            </a:pPr>
            <a:r>
              <a:rPr lang="de-DE" sz="1600" dirty="0">
                <a:solidFill>
                  <a:schemeClr val="tx1"/>
                </a:solidFill>
              </a:rPr>
              <a:t>Zu integrierende SAP On-</a:t>
            </a:r>
            <a:r>
              <a:rPr lang="de-DE" sz="1600" dirty="0" err="1">
                <a:solidFill>
                  <a:schemeClr val="tx1"/>
                </a:solidFill>
              </a:rPr>
              <a:t>Premise</a:t>
            </a:r>
            <a:r>
              <a:rPr lang="de-DE" sz="1600" dirty="0">
                <a:solidFill>
                  <a:schemeClr val="tx1"/>
                </a:solidFill>
              </a:rPr>
              <a:t> Lösung:</a:t>
            </a:r>
          </a:p>
          <a:p>
            <a:pPr>
              <a:spcBef>
                <a:spcPts val="0"/>
              </a:spcBef>
            </a:pPr>
            <a:endParaRPr lang="de-DE" sz="1600" dirty="0">
              <a:solidFill>
                <a:schemeClr val="tx1"/>
              </a:solidFill>
            </a:endParaRPr>
          </a:p>
          <a:p>
            <a:pPr>
              <a:spcBef>
                <a:spcPts val="0"/>
              </a:spcBef>
            </a:pPr>
            <a:r>
              <a:rPr lang="de-DE" sz="1600" dirty="0">
                <a:solidFill>
                  <a:schemeClr val="tx1"/>
                </a:solidFill>
              </a:rPr>
              <a:t>Zu integrierende SAP-Cloud-Lösung (falls vorhanden):</a:t>
            </a:r>
          </a:p>
        </p:txBody>
      </p:sp>
      <p:sp>
        <p:nvSpPr>
          <p:cNvPr id="2" name="Foliennummernplatzhalter 1">
            <a:extLst>
              <a:ext uri="{FF2B5EF4-FFF2-40B4-BE49-F238E27FC236}">
                <a16:creationId xmlns:a16="http://schemas.microsoft.com/office/drawing/2014/main" id="{020722D9-B534-96F9-FEF8-7437A45D837A}"/>
              </a:ext>
            </a:extLst>
          </p:cNvPr>
          <p:cNvSpPr>
            <a:spLocks noGrp="1"/>
          </p:cNvSpPr>
          <p:nvPr>
            <p:ph type="sldNum" sz="quarter" idx="4"/>
          </p:nvPr>
        </p:nvSpPr>
        <p:spPr>
          <a:xfrm>
            <a:off x="11353138" y="6283788"/>
            <a:ext cx="288000" cy="180000"/>
          </a:xfrm>
        </p:spPr>
        <p:txBody>
          <a:bodyPr/>
          <a:lstStyle/>
          <a:p>
            <a:fld id="{FA573BCF-C0F1-4720-B5E7-944FE630E67D}" type="slidenum">
              <a:rPr lang="en-US" smtClean="0">
                <a:solidFill>
                  <a:schemeClr val="tx1"/>
                </a:solidFill>
              </a:rPr>
              <a:pPr/>
              <a:t>2</a:t>
            </a:fld>
            <a:endParaRPr lang="en-US" dirty="0">
              <a:solidFill>
                <a:schemeClr val="tx1"/>
              </a:solidFill>
            </a:endParaRPr>
          </a:p>
        </p:txBody>
      </p:sp>
      <p:sp>
        <p:nvSpPr>
          <p:cNvPr id="6" name="Titel 5">
            <a:extLst>
              <a:ext uri="{FF2B5EF4-FFF2-40B4-BE49-F238E27FC236}">
                <a16:creationId xmlns:a16="http://schemas.microsoft.com/office/drawing/2014/main" id="{3A39EB23-99A5-E418-C633-AEC62A6462CC}"/>
              </a:ext>
            </a:extLst>
          </p:cNvPr>
          <p:cNvSpPr>
            <a:spLocks noGrp="1"/>
          </p:cNvSpPr>
          <p:nvPr>
            <p:ph type="title"/>
          </p:nvPr>
        </p:nvSpPr>
        <p:spPr/>
        <p:txBody>
          <a:bodyPr/>
          <a:lstStyle/>
          <a:p>
            <a:r>
              <a:rPr lang="de-DE" sz="2400" dirty="0"/>
              <a:t>1. Information zum Kunden und dessen Systemlandschaft</a:t>
            </a:r>
            <a:endParaRPr lang="de-DE" dirty="0"/>
          </a:p>
        </p:txBody>
      </p:sp>
      <p:sp>
        <p:nvSpPr>
          <p:cNvPr id="7" name="Textplatzhalter 6">
            <a:extLst>
              <a:ext uri="{FF2B5EF4-FFF2-40B4-BE49-F238E27FC236}">
                <a16:creationId xmlns:a16="http://schemas.microsoft.com/office/drawing/2014/main" id="{4420D82E-ED83-EBD4-223C-49DE520E791E}"/>
              </a:ext>
            </a:extLst>
          </p:cNvPr>
          <p:cNvSpPr>
            <a:spLocks noGrp="1"/>
          </p:cNvSpPr>
          <p:nvPr>
            <p:ph type="body" sz="quarter" idx="14"/>
          </p:nvPr>
        </p:nvSpPr>
        <p:spPr/>
        <p:txBody>
          <a:bodyPr/>
          <a:lstStyle/>
          <a:p>
            <a:r>
              <a:rPr lang="en-US" sz="800" spc="300" dirty="0">
                <a:solidFill>
                  <a:schemeClr val="tx1"/>
                </a:solidFill>
                <a:latin typeface="+mj-lt"/>
              </a:rPr>
              <a:t>valantic </a:t>
            </a:r>
            <a:r>
              <a:rPr lang="en-US" sz="800" spc="300" dirty="0" err="1">
                <a:solidFill>
                  <a:schemeClr val="tx1"/>
                </a:solidFill>
                <a:latin typeface="+mj-lt"/>
              </a:rPr>
              <a:t>SAPxGenAI</a:t>
            </a:r>
            <a:r>
              <a:rPr lang="en-US" sz="800" spc="300" dirty="0">
                <a:solidFill>
                  <a:schemeClr val="tx1"/>
                </a:solidFill>
                <a:latin typeface="+mj-lt"/>
              </a:rPr>
              <a:t> Hackathon 2025 I 21.-24.01.2025 I SAP Lab München</a:t>
            </a:r>
          </a:p>
          <a:p>
            <a:endParaRPr lang="de-DE" dirty="0">
              <a:solidFill>
                <a:schemeClr val="tx1"/>
              </a:solidFill>
              <a:latin typeface="+mn-lt"/>
            </a:endParaRPr>
          </a:p>
        </p:txBody>
      </p:sp>
      <p:pic>
        <p:nvPicPr>
          <p:cNvPr id="9" name="Picture 12" descr="File:SAP AG (logo).gif - Wikipedia">
            <a:extLst>
              <a:ext uri="{FF2B5EF4-FFF2-40B4-BE49-F238E27FC236}">
                <a16:creationId xmlns:a16="http://schemas.microsoft.com/office/drawing/2014/main" id="{1C816341-1533-6007-65FD-72C457A969C3}"/>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47482" y="6281628"/>
            <a:ext cx="893480" cy="357392"/>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a:extLst>
              <a:ext uri="{FF2B5EF4-FFF2-40B4-BE49-F238E27FC236}">
                <a16:creationId xmlns:a16="http://schemas.microsoft.com/office/drawing/2014/main" id="{62614A1C-67A1-CA40-26BA-931F740D6EE4}"/>
              </a:ext>
            </a:extLst>
          </p:cNvPr>
          <p:cNvSpPr/>
          <p:nvPr/>
        </p:nvSpPr>
        <p:spPr>
          <a:xfrm>
            <a:off x="2480806" y="1380588"/>
            <a:ext cx="6042992" cy="225579"/>
          </a:xfrm>
          <a:prstGeom prst="rect">
            <a:avLst/>
          </a:prstGeom>
          <a:noFill/>
          <a:ln w="9525" cap="flat">
            <a:solidFill>
              <a:schemeClr val="tx1"/>
            </a:solidFill>
            <a:prstDash val="solid"/>
            <a:miter/>
          </a:ln>
        </p:spPr>
        <p:txBody>
          <a:bodyPr lIns="36000" tIns="36000" rIns="36000" bIns="36000" rtlCol="0" anchor="ctr" anchorCtr="0"/>
          <a:lstStyle/>
          <a:p>
            <a:pPr algn="ctr">
              <a:spcBef>
                <a:spcPts val="600"/>
              </a:spcBef>
              <a:spcAft>
                <a:spcPts val="600"/>
              </a:spcAft>
            </a:pPr>
            <a:endParaRPr lang="de-DE" sz="1200" b="1"/>
          </a:p>
        </p:txBody>
      </p:sp>
      <p:sp>
        <p:nvSpPr>
          <p:cNvPr id="11" name="Rechteck 10">
            <a:extLst>
              <a:ext uri="{FF2B5EF4-FFF2-40B4-BE49-F238E27FC236}">
                <a16:creationId xmlns:a16="http://schemas.microsoft.com/office/drawing/2014/main" id="{6CBA8BDF-6439-8351-03FA-51F283DADF82}"/>
              </a:ext>
            </a:extLst>
          </p:cNvPr>
          <p:cNvSpPr/>
          <p:nvPr/>
        </p:nvSpPr>
        <p:spPr>
          <a:xfrm>
            <a:off x="2480806" y="1699076"/>
            <a:ext cx="6042992" cy="225579"/>
          </a:xfrm>
          <a:prstGeom prst="rect">
            <a:avLst/>
          </a:prstGeom>
          <a:noFill/>
          <a:ln w="9525" cap="flat">
            <a:solidFill>
              <a:schemeClr val="tx1"/>
            </a:solidFill>
            <a:prstDash val="solid"/>
            <a:miter/>
          </a:ln>
        </p:spPr>
        <p:txBody>
          <a:bodyPr lIns="36000" tIns="36000" rIns="36000" bIns="36000" rtlCol="0" anchor="ctr" anchorCtr="0"/>
          <a:lstStyle/>
          <a:p>
            <a:pPr algn="ctr">
              <a:spcBef>
                <a:spcPts val="600"/>
              </a:spcBef>
              <a:spcAft>
                <a:spcPts val="600"/>
              </a:spcAft>
            </a:pPr>
            <a:endParaRPr lang="de-DE" sz="1200" b="1"/>
          </a:p>
        </p:txBody>
      </p:sp>
      <p:sp>
        <p:nvSpPr>
          <p:cNvPr id="12" name="Rechteck 11">
            <a:extLst>
              <a:ext uri="{FF2B5EF4-FFF2-40B4-BE49-F238E27FC236}">
                <a16:creationId xmlns:a16="http://schemas.microsoft.com/office/drawing/2014/main" id="{30FD6E3D-AABC-FDB3-807A-EA99784EC5AE}"/>
              </a:ext>
            </a:extLst>
          </p:cNvPr>
          <p:cNvSpPr/>
          <p:nvPr/>
        </p:nvSpPr>
        <p:spPr>
          <a:xfrm>
            <a:off x="2480806" y="1997546"/>
            <a:ext cx="6042992" cy="225579"/>
          </a:xfrm>
          <a:prstGeom prst="rect">
            <a:avLst/>
          </a:prstGeom>
          <a:noFill/>
          <a:ln w="9525" cap="flat">
            <a:solidFill>
              <a:schemeClr val="tx1"/>
            </a:solidFill>
            <a:prstDash val="solid"/>
            <a:miter/>
          </a:ln>
        </p:spPr>
        <p:txBody>
          <a:bodyPr lIns="36000" tIns="36000" rIns="36000" bIns="36000" rtlCol="0" anchor="ctr" anchorCtr="0"/>
          <a:lstStyle/>
          <a:p>
            <a:pPr algn="ctr">
              <a:spcBef>
                <a:spcPts val="600"/>
              </a:spcBef>
              <a:spcAft>
                <a:spcPts val="600"/>
              </a:spcAft>
            </a:pPr>
            <a:endParaRPr lang="de-DE" sz="1200" b="1"/>
          </a:p>
        </p:txBody>
      </p:sp>
      <p:sp>
        <p:nvSpPr>
          <p:cNvPr id="13" name="Rechteck 12">
            <a:extLst>
              <a:ext uri="{FF2B5EF4-FFF2-40B4-BE49-F238E27FC236}">
                <a16:creationId xmlns:a16="http://schemas.microsoft.com/office/drawing/2014/main" id="{7C4C0E3D-0986-FFAD-C619-3F2D63664DE5}"/>
              </a:ext>
            </a:extLst>
          </p:cNvPr>
          <p:cNvSpPr/>
          <p:nvPr/>
        </p:nvSpPr>
        <p:spPr>
          <a:xfrm>
            <a:off x="2480806" y="2296016"/>
            <a:ext cx="6042992" cy="225579"/>
          </a:xfrm>
          <a:prstGeom prst="rect">
            <a:avLst/>
          </a:prstGeom>
          <a:noFill/>
          <a:ln w="9525" cap="flat">
            <a:solidFill>
              <a:schemeClr val="tx1"/>
            </a:solidFill>
            <a:prstDash val="solid"/>
            <a:miter/>
          </a:ln>
        </p:spPr>
        <p:txBody>
          <a:bodyPr lIns="36000" tIns="36000" rIns="36000" bIns="36000" rtlCol="0" anchor="ctr" anchorCtr="0"/>
          <a:lstStyle/>
          <a:p>
            <a:pPr algn="ctr">
              <a:spcBef>
                <a:spcPts val="600"/>
              </a:spcBef>
              <a:spcAft>
                <a:spcPts val="600"/>
              </a:spcAft>
            </a:pPr>
            <a:endParaRPr lang="de-DE" sz="1200" b="1"/>
          </a:p>
        </p:txBody>
      </p:sp>
      <p:sp>
        <p:nvSpPr>
          <p:cNvPr id="14" name="Rechteck 13">
            <a:extLst>
              <a:ext uri="{FF2B5EF4-FFF2-40B4-BE49-F238E27FC236}">
                <a16:creationId xmlns:a16="http://schemas.microsoft.com/office/drawing/2014/main" id="{6B73425F-EA7D-11C2-5092-92E6E5A81585}"/>
              </a:ext>
            </a:extLst>
          </p:cNvPr>
          <p:cNvSpPr/>
          <p:nvPr/>
        </p:nvSpPr>
        <p:spPr>
          <a:xfrm>
            <a:off x="5621008" y="2885702"/>
            <a:ext cx="6006992" cy="225579"/>
          </a:xfrm>
          <a:prstGeom prst="rect">
            <a:avLst/>
          </a:prstGeom>
          <a:noFill/>
          <a:ln w="9525" cap="flat">
            <a:solidFill>
              <a:schemeClr val="tx1"/>
            </a:solidFill>
            <a:prstDash val="solid"/>
            <a:miter/>
          </a:ln>
        </p:spPr>
        <p:txBody>
          <a:bodyPr lIns="36000" tIns="36000" rIns="36000" bIns="36000" rtlCol="0" anchor="ctr" anchorCtr="0"/>
          <a:lstStyle/>
          <a:p>
            <a:pPr algn="ctr">
              <a:spcBef>
                <a:spcPts val="600"/>
              </a:spcBef>
              <a:spcAft>
                <a:spcPts val="600"/>
              </a:spcAft>
            </a:pPr>
            <a:endParaRPr lang="de-DE" sz="1200" b="1" dirty="0"/>
          </a:p>
        </p:txBody>
      </p:sp>
      <p:sp>
        <p:nvSpPr>
          <p:cNvPr id="15" name="Rechteck 14">
            <a:extLst>
              <a:ext uri="{FF2B5EF4-FFF2-40B4-BE49-F238E27FC236}">
                <a16:creationId xmlns:a16="http://schemas.microsoft.com/office/drawing/2014/main" id="{0C0D02A7-42D8-731E-61CE-12F7A21537A1}"/>
              </a:ext>
            </a:extLst>
          </p:cNvPr>
          <p:cNvSpPr/>
          <p:nvPr/>
        </p:nvSpPr>
        <p:spPr>
          <a:xfrm>
            <a:off x="5622604" y="3419923"/>
            <a:ext cx="6005396" cy="225579"/>
          </a:xfrm>
          <a:prstGeom prst="rect">
            <a:avLst/>
          </a:prstGeom>
          <a:noFill/>
          <a:ln w="9525" cap="flat">
            <a:solidFill>
              <a:schemeClr val="tx1"/>
            </a:solidFill>
            <a:prstDash val="solid"/>
            <a:miter/>
          </a:ln>
        </p:spPr>
        <p:txBody>
          <a:bodyPr lIns="36000" tIns="36000" rIns="36000" bIns="36000" rtlCol="0" anchor="ctr" anchorCtr="0"/>
          <a:lstStyle/>
          <a:p>
            <a:pPr algn="ctr">
              <a:spcBef>
                <a:spcPts val="600"/>
              </a:spcBef>
              <a:spcAft>
                <a:spcPts val="600"/>
              </a:spcAft>
            </a:pPr>
            <a:endParaRPr lang="de-DE" sz="1200" b="1"/>
          </a:p>
        </p:txBody>
      </p:sp>
      <p:sp>
        <p:nvSpPr>
          <p:cNvPr id="16" name="Ellipse 15">
            <a:extLst>
              <a:ext uri="{FF2B5EF4-FFF2-40B4-BE49-F238E27FC236}">
                <a16:creationId xmlns:a16="http://schemas.microsoft.com/office/drawing/2014/main" id="{4862E562-141A-83FC-CEEB-D25F54A009C3}"/>
              </a:ext>
            </a:extLst>
          </p:cNvPr>
          <p:cNvSpPr/>
          <p:nvPr/>
        </p:nvSpPr>
        <p:spPr>
          <a:xfrm>
            <a:off x="1035596" y="4205620"/>
            <a:ext cx="216000" cy="216000"/>
          </a:xfrm>
          <a:prstGeom prst="ellipse">
            <a:avLst/>
          </a:prstGeom>
          <a:noFill/>
          <a:ln w="9525" cap="flat">
            <a:solidFill>
              <a:schemeClr val="tx1"/>
            </a:solidFill>
            <a:prstDash val="solid"/>
            <a:miter/>
          </a:ln>
        </p:spPr>
        <p:txBody>
          <a:bodyPr lIns="36000" tIns="36000" rIns="36000" bIns="36000" rtlCol="0" anchor="ctr" anchorCtr="0"/>
          <a:lstStyle/>
          <a:p>
            <a:pPr algn="ctr">
              <a:spcBef>
                <a:spcPts val="600"/>
              </a:spcBef>
              <a:spcAft>
                <a:spcPts val="600"/>
              </a:spcAft>
            </a:pPr>
            <a:endParaRPr lang="de-DE" sz="1200" b="1" dirty="0"/>
          </a:p>
        </p:txBody>
      </p:sp>
      <p:sp>
        <p:nvSpPr>
          <p:cNvPr id="17" name="Ellipse 16">
            <a:extLst>
              <a:ext uri="{FF2B5EF4-FFF2-40B4-BE49-F238E27FC236}">
                <a16:creationId xmlns:a16="http://schemas.microsoft.com/office/drawing/2014/main" id="{2A453D39-031D-06D6-71D1-EDD582E3489B}"/>
              </a:ext>
            </a:extLst>
          </p:cNvPr>
          <p:cNvSpPr/>
          <p:nvPr/>
        </p:nvSpPr>
        <p:spPr>
          <a:xfrm>
            <a:off x="1035596" y="4503417"/>
            <a:ext cx="216000" cy="216000"/>
          </a:xfrm>
          <a:prstGeom prst="ellipse">
            <a:avLst/>
          </a:prstGeom>
          <a:noFill/>
          <a:ln w="9525" cap="flat">
            <a:solidFill>
              <a:schemeClr val="tx1"/>
            </a:solidFill>
            <a:prstDash val="solid"/>
            <a:miter/>
          </a:ln>
        </p:spPr>
        <p:txBody>
          <a:bodyPr lIns="36000" tIns="36000" rIns="36000" bIns="36000" rtlCol="0" anchor="ctr" anchorCtr="0"/>
          <a:lstStyle/>
          <a:p>
            <a:pPr algn="ctr">
              <a:spcBef>
                <a:spcPts val="600"/>
              </a:spcBef>
              <a:spcAft>
                <a:spcPts val="600"/>
              </a:spcAft>
            </a:pPr>
            <a:endParaRPr lang="de-DE" sz="1200" b="1"/>
          </a:p>
        </p:txBody>
      </p:sp>
      <p:sp>
        <p:nvSpPr>
          <p:cNvPr id="18" name="Ellipse 17">
            <a:extLst>
              <a:ext uri="{FF2B5EF4-FFF2-40B4-BE49-F238E27FC236}">
                <a16:creationId xmlns:a16="http://schemas.microsoft.com/office/drawing/2014/main" id="{4A5A42F0-0784-D498-6A2C-CF772F195C71}"/>
              </a:ext>
            </a:extLst>
          </p:cNvPr>
          <p:cNvSpPr/>
          <p:nvPr/>
        </p:nvSpPr>
        <p:spPr>
          <a:xfrm>
            <a:off x="1035596" y="4801214"/>
            <a:ext cx="216000" cy="216000"/>
          </a:xfrm>
          <a:prstGeom prst="ellipse">
            <a:avLst/>
          </a:prstGeom>
          <a:noFill/>
          <a:ln w="9525" cap="flat">
            <a:solidFill>
              <a:schemeClr val="tx1"/>
            </a:solidFill>
            <a:prstDash val="solid"/>
            <a:miter/>
          </a:ln>
        </p:spPr>
        <p:txBody>
          <a:bodyPr lIns="36000" tIns="36000" rIns="36000" bIns="36000" rtlCol="0" anchor="ctr" anchorCtr="0"/>
          <a:lstStyle/>
          <a:p>
            <a:pPr algn="ctr">
              <a:spcBef>
                <a:spcPts val="600"/>
              </a:spcBef>
              <a:spcAft>
                <a:spcPts val="600"/>
              </a:spcAft>
            </a:pPr>
            <a:endParaRPr lang="de-DE" sz="1200" b="1"/>
          </a:p>
        </p:txBody>
      </p:sp>
      <p:sp>
        <p:nvSpPr>
          <p:cNvPr id="19" name="Ellipse 18">
            <a:extLst>
              <a:ext uri="{FF2B5EF4-FFF2-40B4-BE49-F238E27FC236}">
                <a16:creationId xmlns:a16="http://schemas.microsoft.com/office/drawing/2014/main" id="{408F1184-F345-3FA2-A2AF-40AFDD2114EF}"/>
              </a:ext>
            </a:extLst>
          </p:cNvPr>
          <p:cNvSpPr/>
          <p:nvPr/>
        </p:nvSpPr>
        <p:spPr>
          <a:xfrm>
            <a:off x="1035596" y="5628588"/>
            <a:ext cx="216000" cy="216000"/>
          </a:xfrm>
          <a:prstGeom prst="ellipse">
            <a:avLst/>
          </a:prstGeom>
          <a:noFill/>
          <a:ln w="9525" cap="flat">
            <a:solidFill>
              <a:schemeClr val="tx1"/>
            </a:solidFill>
            <a:prstDash val="solid"/>
            <a:miter/>
          </a:ln>
        </p:spPr>
        <p:txBody>
          <a:bodyPr lIns="36000" tIns="36000" rIns="36000" bIns="36000" rtlCol="0" anchor="ctr" anchorCtr="0"/>
          <a:lstStyle/>
          <a:p>
            <a:pPr algn="ctr">
              <a:spcBef>
                <a:spcPts val="600"/>
              </a:spcBef>
              <a:spcAft>
                <a:spcPts val="600"/>
              </a:spcAft>
            </a:pPr>
            <a:endParaRPr lang="de-DE" sz="1200" b="1"/>
          </a:p>
        </p:txBody>
      </p:sp>
      <p:sp>
        <p:nvSpPr>
          <p:cNvPr id="20" name="Ellipse 19">
            <a:extLst>
              <a:ext uri="{FF2B5EF4-FFF2-40B4-BE49-F238E27FC236}">
                <a16:creationId xmlns:a16="http://schemas.microsoft.com/office/drawing/2014/main" id="{9387BD5A-6356-F089-3617-9EB258587E66}"/>
              </a:ext>
            </a:extLst>
          </p:cNvPr>
          <p:cNvSpPr/>
          <p:nvPr/>
        </p:nvSpPr>
        <p:spPr>
          <a:xfrm>
            <a:off x="1035596" y="5926385"/>
            <a:ext cx="216000" cy="216000"/>
          </a:xfrm>
          <a:prstGeom prst="ellipse">
            <a:avLst/>
          </a:prstGeom>
          <a:noFill/>
          <a:ln w="9525" cap="flat">
            <a:solidFill>
              <a:schemeClr val="tx1"/>
            </a:solidFill>
            <a:prstDash val="solid"/>
            <a:miter/>
          </a:ln>
        </p:spPr>
        <p:txBody>
          <a:bodyPr lIns="36000" tIns="36000" rIns="36000" bIns="36000" rtlCol="0" anchor="ctr" anchorCtr="0"/>
          <a:lstStyle/>
          <a:p>
            <a:pPr algn="ctr">
              <a:spcBef>
                <a:spcPts val="600"/>
              </a:spcBef>
              <a:spcAft>
                <a:spcPts val="600"/>
              </a:spcAft>
            </a:pPr>
            <a:endParaRPr lang="de-DE" sz="1200" b="1"/>
          </a:p>
        </p:txBody>
      </p:sp>
      <p:sp>
        <p:nvSpPr>
          <p:cNvPr id="21" name="Inhaltsplatzhalter 4">
            <a:extLst>
              <a:ext uri="{FF2B5EF4-FFF2-40B4-BE49-F238E27FC236}">
                <a16:creationId xmlns:a16="http://schemas.microsoft.com/office/drawing/2014/main" id="{8BB80DF7-6E44-0105-23FF-6D434EDD4585}"/>
              </a:ext>
            </a:extLst>
          </p:cNvPr>
          <p:cNvSpPr txBox="1">
            <a:spLocks/>
          </p:cNvSpPr>
          <p:nvPr/>
        </p:nvSpPr>
        <p:spPr>
          <a:xfrm>
            <a:off x="540000" y="1369002"/>
            <a:ext cx="1700943" cy="1289725"/>
          </a:xfrm>
          <a:prstGeom prst="rect">
            <a:avLst/>
          </a:prstGeom>
          <a:noFill/>
        </p:spPr>
        <p:txBody>
          <a:bodyPr vert="horz" lIns="0" tIns="0" rIns="0" bIns="0" rtlCol="0">
            <a:noAutofit/>
          </a:bodyPr>
          <a:lstStyle>
            <a:lvl1pPr marL="0" indent="0" algn="l" defTabSz="914400" rtl="0" eaLnBrk="1" latinLnBrk="0" hangingPunct="1">
              <a:lnSpc>
                <a:spcPts val="1800"/>
              </a:lnSpc>
              <a:spcBef>
                <a:spcPts val="300"/>
              </a:spcBef>
              <a:spcAft>
                <a:spcPts val="300"/>
              </a:spcAft>
              <a:buClr>
                <a:schemeClr val="accent2"/>
              </a:buClr>
              <a:buSzPct val="100000"/>
              <a:buFont typeface="Verdana" panose="020B0604030504040204" pitchFamily="34" charset="0"/>
              <a:buNone/>
              <a:tabLst>
                <a:tab pos="182563" algn="l"/>
              </a:tabLst>
              <a:defRPr lang="en-US" sz="1400" b="0" kern="1200" baseline="0" noProof="0" dirty="0" smtClean="0">
                <a:solidFill>
                  <a:schemeClr val="tx2"/>
                </a:solidFill>
                <a:latin typeface="+mn-lt"/>
                <a:ea typeface="+mn-ea"/>
                <a:cs typeface="+mn-cs"/>
              </a:defRPr>
            </a:lvl1pPr>
            <a:lvl2pPr marL="216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kern="1200" dirty="0" smtClean="0">
                <a:solidFill>
                  <a:schemeClr val="tx2"/>
                </a:solidFill>
                <a:latin typeface="+mn-lt"/>
                <a:ea typeface="+mn-ea"/>
                <a:cs typeface="+mn-cs"/>
              </a:defRPr>
            </a:lvl2pPr>
            <a:lvl3pPr marL="432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b="0" kern="1200" baseline="0" noProof="0" dirty="0" smtClean="0">
                <a:solidFill>
                  <a:schemeClr val="tx2"/>
                </a:solidFill>
                <a:latin typeface="+mn-lt"/>
                <a:ea typeface="+mn-ea"/>
                <a:cs typeface="+mn-cs"/>
              </a:defRPr>
            </a:lvl3pPr>
            <a:lvl4pPr marL="648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b="0" kern="1200" cap="none" spc="10" baseline="0" noProof="0" dirty="0" smtClean="0">
                <a:solidFill>
                  <a:schemeClr val="tx1"/>
                </a:solidFill>
                <a:latin typeface="+mn-lt"/>
                <a:ea typeface="+mn-ea"/>
                <a:cs typeface="Segoe UI Light" panose="020B0502040204020203" pitchFamily="34" charset="0"/>
              </a:defRPr>
            </a:lvl4pPr>
            <a:lvl5pPr marL="0" indent="0" algn="l" defTabSz="914400" rtl="0" eaLnBrk="1" latinLnBrk="0" hangingPunct="1">
              <a:lnSpc>
                <a:spcPts val="1800"/>
              </a:lnSpc>
              <a:spcBef>
                <a:spcPts val="600"/>
              </a:spcBef>
              <a:spcAft>
                <a:spcPts val="300"/>
              </a:spcAft>
              <a:buFont typeface="Arial" panose="020B0604020202020204" pitchFamily="34" charset="0"/>
              <a:buNone/>
              <a:tabLst>
                <a:tab pos="182563" algn="l"/>
              </a:tabLst>
              <a:defRPr lang="en-US" sz="1400" b="0" kern="1200" spc="40" baseline="0" noProof="0" dirty="0" smtClean="0">
                <a:gradFill>
                  <a:gsLst>
                    <a:gs pos="0">
                      <a:srgbClr val="FF4B4B"/>
                    </a:gs>
                    <a:gs pos="100000">
                      <a:srgbClr val="FF744F"/>
                    </a:gs>
                  </a:gsLst>
                  <a:lin ang="18900000" scaled="0"/>
                </a:gradFill>
                <a:latin typeface="+mj-lt"/>
                <a:ea typeface="+mn-ea"/>
                <a:cs typeface="+mn-cs"/>
              </a:defRPr>
            </a:lvl5pPr>
            <a:lvl6pPr marL="216000" indent="-216000" algn="l" defTabSz="914400" rtl="0" eaLnBrk="1" latinLnBrk="0" hangingPunct="1">
              <a:lnSpc>
                <a:spcPts val="1800"/>
              </a:lnSpc>
              <a:spcBef>
                <a:spcPts val="300"/>
              </a:spcBef>
              <a:spcAft>
                <a:spcPts val="300"/>
              </a:spcAft>
              <a:buClr>
                <a:schemeClr val="accent1"/>
              </a:buClr>
              <a:buFont typeface="+mj-lt"/>
              <a:buAutoNum type="arabicPeriod"/>
              <a:tabLst>
                <a:tab pos="182563" algn="l"/>
              </a:tabLst>
              <a:defRPr lang="en-US" sz="1400" b="0" kern="1200" cap="none" spc="40" baseline="0" noProof="0" dirty="0" smtClean="0">
                <a:solidFill>
                  <a:schemeClr val="tx1"/>
                </a:solidFill>
                <a:latin typeface="+mn-lt"/>
                <a:ea typeface="Segoe UI Black" panose="020B0A02040204020203" pitchFamily="34" charset="0"/>
                <a:cs typeface="Segoe UI Light" panose="020B0502040204020203" pitchFamily="34" charset="0"/>
              </a:defRPr>
            </a:lvl6pPr>
            <a:lvl7pPr marL="432000" indent="-216000" algn="l" defTabSz="914400" rtl="0" eaLnBrk="1" latinLnBrk="0" hangingPunct="1">
              <a:lnSpc>
                <a:spcPts val="1800"/>
              </a:lnSpc>
              <a:spcBef>
                <a:spcPts val="300"/>
              </a:spcBef>
              <a:spcAft>
                <a:spcPts val="300"/>
              </a:spcAft>
              <a:buClr>
                <a:schemeClr val="accent1"/>
              </a:buClr>
              <a:buFont typeface="+mj-lt"/>
              <a:buAutoNum type="alphaLcPeriod"/>
              <a:tabLst>
                <a:tab pos="182563" algn="l"/>
              </a:tabLst>
              <a:defRPr lang="en-US" sz="1400" kern="1200" noProof="0" dirty="0" smtClean="0">
                <a:solidFill>
                  <a:schemeClr val="tx2"/>
                </a:solidFill>
                <a:latin typeface="+mn-lt"/>
                <a:ea typeface="+mn-ea"/>
                <a:cs typeface="+mn-cs"/>
              </a:defRPr>
            </a:lvl7pPr>
            <a:lvl8pPr marL="216000" indent="-216000" algn="l" defTabSz="914400" rtl="0" eaLnBrk="1" latinLnBrk="0" hangingPunct="1">
              <a:lnSpc>
                <a:spcPts val="1800"/>
              </a:lnSpc>
              <a:spcBef>
                <a:spcPts val="300"/>
              </a:spcBef>
              <a:spcAft>
                <a:spcPts val="300"/>
              </a:spcAft>
              <a:buClr>
                <a:schemeClr val="tx2"/>
              </a:buClr>
              <a:buFont typeface="Wingdings 3" panose="05040102010807070707" pitchFamily="18" charset="2"/>
              <a:buChar char="g"/>
              <a:tabLst>
                <a:tab pos="182563" algn="l"/>
              </a:tabLst>
              <a:defRPr lang="en-US" sz="1400" kern="1200" noProof="0" dirty="0" smtClean="0">
                <a:solidFill>
                  <a:schemeClr val="tx2"/>
                </a:solidFill>
                <a:latin typeface="+mn-lt"/>
                <a:ea typeface="+mn-ea"/>
                <a:cs typeface="+mn-cs"/>
              </a:defRPr>
            </a:lvl8pPr>
            <a:lvl9pPr marL="0" indent="0" algn="l" defTabSz="914400" rtl="0" eaLnBrk="1" latinLnBrk="0" hangingPunct="1">
              <a:lnSpc>
                <a:spcPts val="1800"/>
              </a:lnSpc>
              <a:spcBef>
                <a:spcPts val="600"/>
              </a:spcBef>
              <a:spcAft>
                <a:spcPts val="300"/>
              </a:spcAft>
              <a:buClr>
                <a:schemeClr val="accent4"/>
              </a:buClr>
              <a:buFontTx/>
              <a:buNone/>
              <a:tabLst>
                <a:tab pos="182563" algn="l"/>
              </a:tabLst>
              <a:defRPr lang="en-US" sz="1400" i="0" kern="1200" cap="all" spc="100" baseline="0" noProof="0" dirty="0">
                <a:solidFill>
                  <a:schemeClr val="tx2"/>
                </a:solidFill>
                <a:latin typeface="+mj-lt"/>
                <a:ea typeface="+mn-ea"/>
                <a:cs typeface="+mn-cs"/>
              </a:defRPr>
            </a:lvl9pPr>
          </a:lstStyle>
          <a:p>
            <a:pPr>
              <a:spcBef>
                <a:spcPts val="0"/>
              </a:spcBef>
              <a:spcAft>
                <a:spcPts val="600"/>
              </a:spcAft>
            </a:pPr>
            <a:r>
              <a:rPr lang="de-DE" sz="1600" dirty="0">
                <a:solidFill>
                  <a:schemeClr val="tx1"/>
                </a:solidFill>
              </a:rPr>
              <a:t>Kundenname:</a:t>
            </a:r>
          </a:p>
          <a:p>
            <a:pPr>
              <a:spcBef>
                <a:spcPts val="0"/>
              </a:spcBef>
              <a:spcAft>
                <a:spcPts val="600"/>
              </a:spcAft>
            </a:pPr>
            <a:r>
              <a:rPr lang="de-DE" sz="1600" dirty="0">
                <a:solidFill>
                  <a:schemeClr val="tx1"/>
                </a:solidFill>
              </a:rPr>
              <a:t>Industrie:</a:t>
            </a:r>
          </a:p>
          <a:p>
            <a:pPr>
              <a:spcBef>
                <a:spcPts val="0"/>
              </a:spcBef>
              <a:spcAft>
                <a:spcPts val="600"/>
              </a:spcAft>
            </a:pPr>
            <a:r>
              <a:rPr lang="de-DE" sz="1600" dirty="0">
                <a:solidFill>
                  <a:schemeClr val="tx1"/>
                </a:solidFill>
              </a:rPr>
              <a:t>Abteilung:</a:t>
            </a:r>
          </a:p>
          <a:p>
            <a:pPr>
              <a:spcBef>
                <a:spcPts val="0"/>
              </a:spcBef>
              <a:spcAft>
                <a:spcPts val="600"/>
              </a:spcAft>
            </a:pPr>
            <a:r>
              <a:rPr lang="de-DE" sz="1600" dirty="0">
                <a:solidFill>
                  <a:schemeClr val="tx1"/>
                </a:solidFill>
              </a:rPr>
              <a:t>Use Case Titel:</a:t>
            </a:r>
          </a:p>
        </p:txBody>
      </p:sp>
    </p:spTree>
    <p:extLst>
      <p:ext uri="{BB962C8B-B14F-4D97-AF65-F5344CB8AC3E}">
        <p14:creationId xmlns:p14="http://schemas.microsoft.com/office/powerpoint/2010/main" val="39303747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elle 23">
            <a:extLst>
              <a:ext uri="{FF2B5EF4-FFF2-40B4-BE49-F238E27FC236}">
                <a16:creationId xmlns:a16="http://schemas.microsoft.com/office/drawing/2014/main" id="{834D06E7-F35B-1D37-FFE6-8B2E5E3F9356}"/>
              </a:ext>
            </a:extLst>
          </p:cNvPr>
          <p:cNvGraphicFramePr>
            <a:graphicFrameLocks noGrp="1"/>
          </p:cNvGraphicFramePr>
          <p:nvPr>
            <p:extLst>
              <p:ext uri="{D42A27DB-BD31-4B8C-83A1-F6EECF244321}">
                <p14:modId xmlns:p14="http://schemas.microsoft.com/office/powerpoint/2010/main" val="20679158"/>
              </p:ext>
            </p:extLst>
          </p:nvPr>
        </p:nvGraphicFramePr>
        <p:xfrm>
          <a:off x="540000" y="1270301"/>
          <a:ext cx="11088000" cy="4680001"/>
        </p:xfrm>
        <a:graphic>
          <a:graphicData uri="http://schemas.openxmlformats.org/drawingml/2006/table">
            <a:tbl>
              <a:tblPr firstRow="1" firstCol="1" bandRow="1">
                <a:tableStyleId>{5DA37D80-6434-44D0-A028-1B22A696006F}</a:tableStyleId>
              </a:tblPr>
              <a:tblGrid>
                <a:gridCol w="5542443">
                  <a:extLst>
                    <a:ext uri="{9D8B030D-6E8A-4147-A177-3AD203B41FA5}">
                      <a16:colId xmlns:a16="http://schemas.microsoft.com/office/drawing/2014/main" val="161063541"/>
                    </a:ext>
                  </a:extLst>
                </a:gridCol>
                <a:gridCol w="5545557">
                  <a:extLst>
                    <a:ext uri="{9D8B030D-6E8A-4147-A177-3AD203B41FA5}">
                      <a16:colId xmlns:a16="http://schemas.microsoft.com/office/drawing/2014/main" val="1620813532"/>
                    </a:ext>
                  </a:extLst>
                </a:gridCol>
              </a:tblGrid>
              <a:tr h="300795">
                <a:tc gridSpan="2">
                  <a:txBody>
                    <a:bodyPr/>
                    <a:lstStyle/>
                    <a:p>
                      <a:pPr algn="ctr"/>
                      <a:r>
                        <a:rPr lang="de-DE" sz="1200" b="1" kern="100" dirty="0">
                          <a:solidFill>
                            <a:schemeClr val="tx1"/>
                          </a:solidFill>
                          <a:effectLst/>
                        </a:rPr>
                        <a:t>Use Case Titel</a:t>
                      </a:r>
                      <a:endParaRPr lang="de-DE" sz="1200" b="1" i="0" kern="100" dirty="0">
                        <a:solidFill>
                          <a:schemeClr val="tx1"/>
                        </a:solidFill>
                        <a:effectLst/>
                        <a:latin typeface="+mn-lt"/>
                        <a:ea typeface="Aptos" panose="020B0004020202020204" pitchFamily="34" charset="0"/>
                        <a:cs typeface="Segoe UI Light" panose="020B0502040204020203" pitchFamily="34" charset="0"/>
                      </a:endParaRPr>
                    </a:p>
                  </a:txBody>
                  <a:tcPr marL="68580" marR="68580" marT="0" marB="0"/>
                </a:tc>
                <a:tc hMerge="1">
                  <a:txBody>
                    <a:bodyPr/>
                    <a:lstStyle/>
                    <a:p>
                      <a:endParaRPr lang="de-DE" sz="1200" b="0" i="0" kern="100" dirty="0">
                        <a:effectLst/>
                        <a:latin typeface="Segoe UI Light" panose="020B0502040204020203" pitchFamily="34" charset="0"/>
                        <a:ea typeface="Aptos" panose="020B0004020202020204" pitchFamily="34" charset="0"/>
                        <a:cs typeface="Segoe UI Light"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alpha val="49868"/>
                      </a:schemeClr>
                    </a:solidFill>
                  </a:tcPr>
                </a:tc>
                <a:extLst>
                  <a:ext uri="{0D108BD9-81ED-4DB2-BD59-A6C34878D82A}">
                    <a16:rowId xmlns:a16="http://schemas.microsoft.com/office/drawing/2014/main" val="2929741860"/>
                  </a:ext>
                </a:extLst>
              </a:tr>
              <a:tr h="1215742">
                <a:tc>
                  <a:txBody>
                    <a:bodyPr/>
                    <a:lstStyle/>
                    <a:p>
                      <a:r>
                        <a:rPr lang="de-DE" sz="1200" noProof="0" dirty="0"/>
                        <a:t>Bitte beschreiben sie die User Story, die sie mittels </a:t>
                      </a:r>
                      <a:r>
                        <a:rPr lang="de-DE" sz="1200" noProof="0" dirty="0" err="1"/>
                        <a:t>GenAI</a:t>
                      </a:r>
                      <a:r>
                        <a:rPr lang="de-DE" sz="1200" noProof="0" dirty="0"/>
                        <a:t> optimieren wollen</a:t>
                      </a:r>
                      <a:r>
                        <a:rPr lang="de-DE" sz="1200" b="0" noProof="0" dirty="0">
                          <a:solidFill>
                            <a:srgbClr val="000000"/>
                          </a:solidFill>
                          <a:effectLst/>
                        </a:rPr>
                        <a:t>: </a:t>
                      </a:r>
                    </a:p>
                    <a:p>
                      <a:endParaRPr lang="de-DE" sz="1200" b="0" noProof="0" dirty="0">
                        <a:solidFill>
                          <a:srgbClr val="000000"/>
                        </a:solidFill>
                        <a:effectLst/>
                      </a:endParaRPr>
                    </a:p>
                    <a:p>
                      <a:r>
                        <a:rPr lang="de-DE" sz="1200" b="0" noProof="0" dirty="0">
                          <a:solidFill>
                            <a:srgbClr val="000000"/>
                          </a:solidFill>
                          <a:effectLst/>
                        </a:rPr>
                        <a:t>Als [Benutzer/Rolle]</a:t>
                      </a:r>
                    </a:p>
                    <a:p>
                      <a:r>
                        <a:rPr lang="de-DE" sz="1200" b="0" noProof="0" dirty="0">
                          <a:solidFill>
                            <a:srgbClr val="000000"/>
                          </a:solidFill>
                          <a:effectLst/>
                        </a:rPr>
                        <a:t>Möchte ich - Beschreiben Sie die Motivation des Benutzers</a:t>
                      </a:r>
                    </a:p>
                    <a:p>
                      <a:r>
                        <a:rPr lang="de-DE" sz="1200" b="0" noProof="0" dirty="0">
                          <a:solidFill>
                            <a:srgbClr val="000000"/>
                          </a:solidFill>
                          <a:effectLst/>
                        </a:rPr>
                        <a:t>Damit - Erwartetes Ergebnis</a:t>
                      </a:r>
                      <a:endParaRPr lang="de-DE" sz="1200" b="0" i="0" noProof="0" dirty="0">
                        <a:solidFill>
                          <a:srgbClr val="000000"/>
                        </a:solidFill>
                        <a:effectLst/>
                        <a:latin typeface="+mn-lt"/>
                        <a:ea typeface="Times New Roman" panose="02020603050405020304" pitchFamily="18" charset="0"/>
                        <a:cs typeface="Segoe UI Light" panose="020B0502040204020203" pitchFamily="34" charset="0"/>
                      </a:endParaRPr>
                    </a:p>
                  </a:txBody>
                  <a:tcPr marL="68580" marR="68580" marT="0" marB="0"/>
                </a:tc>
                <a:tc>
                  <a:txBody>
                    <a:bodyPr/>
                    <a:lstStyle/>
                    <a:p>
                      <a:endParaRPr lang="de-DE" sz="1200" b="0" i="0" kern="100" dirty="0">
                        <a:effectLst/>
                        <a:latin typeface="Segoe UI Light" panose="020B0502040204020203" pitchFamily="34" charset="0"/>
                        <a:ea typeface="Aptos" panose="020B0004020202020204" pitchFamily="34" charset="0"/>
                        <a:cs typeface="Segoe UI Light" panose="020B0502040204020203" pitchFamily="34" charset="0"/>
                      </a:endParaRPr>
                    </a:p>
                  </a:txBody>
                  <a:tcPr marL="68580" marR="68580" marT="0" marB="0"/>
                </a:tc>
                <a:extLst>
                  <a:ext uri="{0D108BD9-81ED-4DB2-BD59-A6C34878D82A}">
                    <a16:rowId xmlns:a16="http://schemas.microsoft.com/office/drawing/2014/main" val="3324920383"/>
                  </a:ext>
                </a:extLst>
              </a:tr>
              <a:tr h="3193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noProof="0">
                          <a:solidFill>
                            <a:srgbClr val="000000"/>
                          </a:solidFill>
                          <a:effectLst/>
                        </a:rPr>
                        <a:t>Wie sieht der aktuelle Umgang mit der User Story aus?</a:t>
                      </a:r>
                    </a:p>
                  </a:txBody>
                  <a:tcPr marL="68580" marR="68580" marT="0" marB="0"/>
                </a:tc>
                <a:tc>
                  <a:txBody>
                    <a:bodyPr/>
                    <a:lstStyle/>
                    <a:p>
                      <a:r>
                        <a:rPr lang="en-US" sz="1200" b="0" kern="100" dirty="0">
                          <a:effectLst/>
                        </a:rPr>
                        <a:t> </a:t>
                      </a:r>
                      <a:endParaRPr lang="de-DE" sz="1200" b="0" i="0" kern="100" dirty="0">
                        <a:effectLst/>
                        <a:latin typeface="Segoe UI Light" panose="020B0502040204020203" pitchFamily="34" charset="0"/>
                        <a:ea typeface="Aptos" panose="020B0004020202020204" pitchFamily="34" charset="0"/>
                        <a:cs typeface="Segoe UI Light" panose="020B0502040204020203" pitchFamily="34" charset="0"/>
                      </a:endParaRPr>
                    </a:p>
                  </a:txBody>
                  <a:tcPr marL="68580" marR="68580" marT="0" marB="0"/>
                </a:tc>
                <a:extLst>
                  <a:ext uri="{0D108BD9-81ED-4DB2-BD59-A6C34878D82A}">
                    <a16:rowId xmlns:a16="http://schemas.microsoft.com/office/drawing/2014/main" val="4110555162"/>
                  </a:ext>
                </a:extLst>
              </a:tr>
              <a:tr h="4507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noProof="0">
                          <a:solidFill>
                            <a:srgbClr val="000000"/>
                          </a:solidFill>
                          <a:effectLst/>
                        </a:rPr>
                        <a:t>Gibt es aktuelle Wissenslücken (fehlende Daten, Technologie, Entwicklungswissen)?</a:t>
                      </a:r>
                      <a:endParaRPr lang="de-DE" sz="1200" b="0" i="0" noProof="0">
                        <a:solidFill>
                          <a:srgbClr val="000000"/>
                        </a:solidFill>
                        <a:effectLst/>
                        <a:latin typeface="+mn-lt"/>
                        <a:ea typeface="Times New Roman" panose="02020603050405020304" pitchFamily="18" charset="0"/>
                        <a:cs typeface="Segoe UI Light" panose="020B0502040204020203" pitchFamily="34" charset="0"/>
                      </a:endParaRPr>
                    </a:p>
                  </a:txBody>
                  <a:tcPr marL="68580" marR="68580" marT="0" marB="0"/>
                </a:tc>
                <a:tc>
                  <a:txBody>
                    <a:bodyPr/>
                    <a:lstStyle/>
                    <a:p>
                      <a:endParaRPr lang="de-DE" sz="1200" b="0" i="0" kern="100" dirty="0">
                        <a:effectLst/>
                        <a:latin typeface="Segoe UI Light" panose="020B0502040204020203" pitchFamily="34" charset="0"/>
                        <a:ea typeface="Aptos" panose="020B0004020202020204" pitchFamily="34" charset="0"/>
                        <a:cs typeface="Segoe UI Light" panose="020B0502040204020203" pitchFamily="34" charset="0"/>
                      </a:endParaRPr>
                    </a:p>
                  </a:txBody>
                  <a:tcPr marL="68580" marR="68580" marT="0" marB="0"/>
                </a:tc>
                <a:extLst>
                  <a:ext uri="{0D108BD9-81ED-4DB2-BD59-A6C34878D82A}">
                    <a16:rowId xmlns:a16="http://schemas.microsoft.com/office/drawing/2014/main" val="2512479283"/>
                  </a:ext>
                </a:extLst>
              </a:tr>
              <a:tr h="3406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noProof="0" dirty="0">
                          <a:solidFill>
                            <a:srgbClr val="000000"/>
                          </a:solidFill>
                          <a:effectLst/>
                        </a:rPr>
                        <a:t>Was muss Ihrer Ansicht nach erreicht werden, sodass der Use Case ein Erfolg ist? </a:t>
                      </a:r>
                      <a:endParaRPr lang="de-DE" sz="1200" b="0" i="0" noProof="0" dirty="0">
                        <a:solidFill>
                          <a:srgbClr val="000000"/>
                        </a:solidFill>
                        <a:effectLst/>
                        <a:latin typeface="+mn-lt"/>
                        <a:ea typeface="Times New Roman" panose="02020603050405020304" pitchFamily="18" charset="0"/>
                        <a:cs typeface="Segoe UI Light" panose="020B0502040204020203" pitchFamily="34" charset="0"/>
                      </a:endParaRPr>
                    </a:p>
                  </a:txBody>
                  <a:tcPr marL="68580" marR="68580" marT="0" marB="0"/>
                </a:tc>
                <a:tc>
                  <a:txBody>
                    <a:bodyPr/>
                    <a:lstStyle/>
                    <a:p>
                      <a:endParaRPr lang="de-DE" sz="1200" b="0" i="0" kern="100" dirty="0">
                        <a:effectLst/>
                        <a:latin typeface="Segoe UI Light" panose="020B0502040204020203" pitchFamily="34" charset="0"/>
                        <a:ea typeface="Aptos" panose="020B0004020202020204" pitchFamily="34" charset="0"/>
                        <a:cs typeface="Segoe UI Light" panose="020B0502040204020203" pitchFamily="34" charset="0"/>
                      </a:endParaRPr>
                    </a:p>
                  </a:txBody>
                  <a:tcPr marL="68580" marR="68580" marT="0" marB="0"/>
                </a:tc>
                <a:extLst>
                  <a:ext uri="{0D108BD9-81ED-4DB2-BD59-A6C34878D82A}">
                    <a16:rowId xmlns:a16="http://schemas.microsoft.com/office/drawing/2014/main" val="3560777213"/>
                  </a:ext>
                </a:extLst>
              </a:tr>
              <a:tr h="372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noProof="0">
                          <a:solidFill>
                            <a:srgbClr val="000000"/>
                          </a:solidFill>
                          <a:effectLst/>
                        </a:rPr>
                        <a:t>Sind die notwendigen Daten für den Use Case verfügbar?</a:t>
                      </a:r>
                      <a:endParaRPr lang="de-DE" sz="1200" b="0" i="0" noProof="0">
                        <a:solidFill>
                          <a:srgbClr val="000000"/>
                        </a:solidFill>
                        <a:effectLst/>
                        <a:latin typeface="+mn-lt"/>
                        <a:ea typeface="Times New Roman" panose="02020603050405020304" pitchFamily="18" charset="0"/>
                        <a:cs typeface="Segoe UI Light" panose="020B0502040204020203" pitchFamily="34" charset="0"/>
                      </a:endParaRPr>
                    </a:p>
                  </a:txBody>
                  <a:tcPr marL="68580" marR="68580" marT="0" marB="0"/>
                </a:tc>
                <a:tc>
                  <a:txBody>
                    <a:bodyPr/>
                    <a:lstStyle/>
                    <a:p>
                      <a:endParaRPr lang="de-DE" sz="1200" b="0" i="0" kern="100" dirty="0">
                        <a:effectLst/>
                        <a:latin typeface="Segoe UI Light" panose="020B0502040204020203" pitchFamily="34" charset="0"/>
                        <a:ea typeface="Aptos" panose="020B0004020202020204" pitchFamily="34" charset="0"/>
                        <a:cs typeface="Segoe UI Light" panose="020B0502040204020203" pitchFamily="34" charset="0"/>
                      </a:endParaRPr>
                    </a:p>
                  </a:txBody>
                  <a:tcPr marL="68580" marR="68580" marT="0" marB="0"/>
                </a:tc>
                <a:extLst>
                  <a:ext uri="{0D108BD9-81ED-4DB2-BD59-A6C34878D82A}">
                    <a16:rowId xmlns:a16="http://schemas.microsoft.com/office/drawing/2014/main" val="1453886576"/>
                  </a:ext>
                </a:extLst>
              </a:tr>
              <a:tr h="4507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noProof="0">
                          <a:solidFill>
                            <a:srgbClr val="000000"/>
                          </a:solidFill>
                          <a:effectLst/>
                        </a:rPr>
                        <a:t>In welcher Form liegen die Datenquellen vor (SAP, PDF-Dokumente, Drittsysteme, ...)?</a:t>
                      </a:r>
                      <a:endParaRPr lang="de-DE" sz="1200" b="0" i="0" kern="100" noProof="0">
                        <a:effectLst/>
                        <a:latin typeface="+mn-lt"/>
                        <a:ea typeface="Aptos" panose="020B0004020202020204" pitchFamily="34" charset="0"/>
                        <a:cs typeface="Segoe UI Light" panose="020B0502040204020203" pitchFamily="34" charset="0"/>
                      </a:endParaRPr>
                    </a:p>
                  </a:txBody>
                  <a:tcPr marL="68580" marR="68580" marT="0" marB="0"/>
                </a:tc>
                <a:tc>
                  <a:txBody>
                    <a:bodyPr/>
                    <a:lstStyle/>
                    <a:p>
                      <a:endParaRPr lang="de-DE" sz="1200" b="0" i="0" kern="100" dirty="0">
                        <a:effectLst/>
                        <a:latin typeface="Segoe UI Light" panose="020B0502040204020203" pitchFamily="34" charset="0"/>
                        <a:ea typeface="Aptos" panose="020B0004020202020204" pitchFamily="34" charset="0"/>
                        <a:cs typeface="Segoe UI Light" panose="020B0502040204020203" pitchFamily="34" charset="0"/>
                      </a:endParaRPr>
                    </a:p>
                  </a:txBody>
                  <a:tcPr marL="68580" marR="68580" marT="0" marB="0"/>
                </a:tc>
                <a:extLst>
                  <a:ext uri="{0D108BD9-81ED-4DB2-BD59-A6C34878D82A}">
                    <a16:rowId xmlns:a16="http://schemas.microsoft.com/office/drawing/2014/main" val="3233714136"/>
                  </a:ext>
                </a:extLst>
              </a:tr>
              <a:tr h="5534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noProof="0" dirty="0">
                          <a:solidFill>
                            <a:srgbClr val="000000"/>
                          </a:solidFill>
                          <a:effectLst/>
                        </a:rPr>
                        <a:t>Gibt es technische oder sicherheitsrelevante Voraussetzungen, welche zu berücksichtigen sind? Wenn ja, erläutern Sie diese bitte.</a:t>
                      </a:r>
                      <a:endParaRPr lang="de-DE" sz="1200" b="0" i="0" noProof="0" dirty="0">
                        <a:solidFill>
                          <a:srgbClr val="000000"/>
                        </a:solidFill>
                        <a:effectLst/>
                        <a:latin typeface="+mn-lt"/>
                        <a:ea typeface="Times New Roman" panose="02020603050405020304" pitchFamily="18" charset="0"/>
                        <a:cs typeface="Segoe UI Light" panose="020B0502040204020203" pitchFamily="34" charset="0"/>
                      </a:endParaRPr>
                    </a:p>
                  </a:txBody>
                  <a:tcPr marL="68580" marR="68580" marT="0" marB="0"/>
                </a:tc>
                <a:tc>
                  <a:txBody>
                    <a:bodyPr/>
                    <a:lstStyle/>
                    <a:p>
                      <a:endParaRPr lang="de-DE" sz="1200" b="0" i="0" kern="100" dirty="0">
                        <a:effectLst/>
                        <a:latin typeface="Segoe UI Light" panose="020B0502040204020203" pitchFamily="34" charset="0"/>
                        <a:ea typeface="Aptos" panose="020B0004020202020204" pitchFamily="34" charset="0"/>
                        <a:cs typeface="Segoe UI Light" panose="020B0502040204020203" pitchFamily="34" charset="0"/>
                      </a:endParaRPr>
                    </a:p>
                  </a:txBody>
                  <a:tcPr marL="68580" marR="68580" marT="0" marB="0"/>
                </a:tc>
                <a:extLst>
                  <a:ext uri="{0D108BD9-81ED-4DB2-BD59-A6C34878D82A}">
                    <a16:rowId xmlns:a16="http://schemas.microsoft.com/office/drawing/2014/main" val="2344703962"/>
                  </a:ext>
                </a:extLst>
              </a:tr>
              <a:tr h="6760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noProof="0" dirty="0">
                          <a:solidFill>
                            <a:srgbClr val="000000"/>
                          </a:solidFill>
                          <a:effectLst/>
                        </a:rPr>
                        <a:t>Gibt es ethische oder rechtliche Bedenken oder Einschränkungen in Bezug auf die Umsetzung des Use Cases (denken Sie an Dinge wie sensible Eingabefelder, personenbezogene Daten, usw.). Wenn ja, erläutern Sie diese bitte.</a:t>
                      </a:r>
                      <a:endParaRPr lang="de-DE" sz="1200" b="0" i="0" noProof="0" dirty="0">
                        <a:solidFill>
                          <a:srgbClr val="000000"/>
                        </a:solidFill>
                        <a:effectLst/>
                        <a:latin typeface="+mn-lt"/>
                        <a:ea typeface="Times New Roman" panose="02020603050405020304" pitchFamily="18" charset="0"/>
                        <a:cs typeface="Segoe UI Light" panose="020B0502040204020203" pitchFamily="34" charset="0"/>
                      </a:endParaRPr>
                    </a:p>
                  </a:txBody>
                  <a:tcPr marL="68580" marR="68580" marT="0" marB="0"/>
                </a:tc>
                <a:tc>
                  <a:txBody>
                    <a:bodyPr/>
                    <a:lstStyle/>
                    <a:p>
                      <a:endParaRPr lang="de-DE" sz="1200" b="0" i="0" kern="100" dirty="0">
                        <a:effectLst/>
                        <a:latin typeface="Segoe UI Light" panose="020B0502040204020203" pitchFamily="34" charset="0"/>
                        <a:ea typeface="Aptos" panose="020B0004020202020204" pitchFamily="34" charset="0"/>
                        <a:cs typeface="Segoe UI Light" panose="020B0502040204020203" pitchFamily="34" charset="0"/>
                      </a:endParaRPr>
                    </a:p>
                  </a:txBody>
                  <a:tcPr marL="68580" marR="68580" marT="0" marB="0"/>
                </a:tc>
                <a:extLst>
                  <a:ext uri="{0D108BD9-81ED-4DB2-BD59-A6C34878D82A}">
                    <a16:rowId xmlns:a16="http://schemas.microsoft.com/office/drawing/2014/main" val="321701089"/>
                  </a:ext>
                </a:extLst>
              </a:tr>
            </a:tbl>
          </a:graphicData>
        </a:graphic>
      </p:graphicFrame>
      <p:graphicFrame>
        <p:nvGraphicFramePr>
          <p:cNvPr id="9" name="Objek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592" imgH="591" progId="TCLayout.ActiveDocument.1">
                  <p:embed/>
                </p:oleObj>
              </mc:Choice>
              <mc:Fallback>
                <p:oleObj name="think-cell Folie" r:id="rId5" imgW="592" imgH="591" progId="TCLayout.ActiveDocument.1">
                  <p:embed/>
                  <p:pic>
                    <p:nvPicPr>
                      <p:cNvPr id="9" name="Objek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267D25-6DCB-4FAF-B775-912A446FB0CA}"/>
              </a:ext>
            </a:extLst>
          </p:cNvPr>
          <p:cNvSpPr/>
          <p:nvPr>
            <p:custDataLst>
              <p:tags r:id="rId2"/>
            </p:custDataLst>
          </p:nvPr>
        </p:nvSpPr>
        <p:spPr bwMode="gray">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0000"/>
              </a:lnSpc>
            </a:pPr>
            <a:endParaRPr lang="de-DE" sz="2800" b="1" dirty="0">
              <a:solidFill>
                <a:schemeClr val="bg1"/>
              </a:solidFill>
              <a:latin typeface="Segoe UI" panose="020B0502040204020203" pitchFamily="34" charset="0"/>
              <a:ea typeface="+mj-ea"/>
              <a:cs typeface="Porsche Next TT Thin" panose="020B0404020101010102" pitchFamily="34" charset="0"/>
              <a:sym typeface="Segoe UI" panose="020B0502040204020203" pitchFamily="34" charset="0"/>
            </a:endParaRPr>
          </a:p>
        </p:txBody>
      </p:sp>
      <p:sp>
        <p:nvSpPr>
          <p:cNvPr id="2" name="Titel 1"/>
          <p:cNvSpPr>
            <a:spLocks noGrp="1"/>
          </p:cNvSpPr>
          <p:nvPr>
            <p:ph type="title"/>
          </p:nvPr>
        </p:nvSpPr>
        <p:spPr/>
        <p:txBody>
          <a:bodyPr>
            <a:normAutofit/>
          </a:bodyPr>
          <a:lstStyle/>
          <a:p>
            <a:r>
              <a:rPr lang="de-DE" sz="2400" dirty="0"/>
              <a:t>2. Beschreibung des </a:t>
            </a:r>
            <a:r>
              <a:rPr lang="de-DE" sz="2400" dirty="0" err="1"/>
              <a:t>GenAI</a:t>
            </a:r>
            <a:r>
              <a:rPr lang="de-DE" sz="2400" dirty="0"/>
              <a:t> x SAP Use Case</a:t>
            </a:r>
            <a:endParaRPr lang="en-US" sz="2400" dirty="0"/>
          </a:p>
        </p:txBody>
      </p:sp>
      <p:sp>
        <p:nvSpPr>
          <p:cNvPr id="65" name="Textplatzhalter 35">
            <a:extLst>
              <a:ext uri="{FF2B5EF4-FFF2-40B4-BE49-F238E27FC236}">
                <a16:creationId xmlns:a16="http://schemas.microsoft.com/office/drawing/2014/main" id="{5312BE89-CBC3-4C14-82F4-27541239CDF7}"/>
              </a:ext>
            </a:extLst>
          </p:cNvPr>
          <p:cNvSpPr>
            <a:spLocks noGrp="1"/>
          </p:cNvSpPr>
          <p:nvPr>
            <p:ph type="body" sz="quarter" idx="14"/>
          </p:nvPr>
        </p:nvSpPr>
        <p:spPr/>
        <p:txBody>
          <a:bodyPr/>
          <a:lstStyle/>
          <a:p>
            <a:r>
              <a:rPr lang="en-US" spc="300" dirty="0">
                <a:solidFill>
                  <a:srgbClr val="2D3842"/>
                </a:solidFill>
              </a:rPr>
              <a:t>valantic </a:t>
            </a:r>
            <a:r>
              <a:rPr lang="en-US" spc="300" dirty="0" err="1">
                <a:solidFill>
                  <a:srgbClr val="2D3842"/>
                </a:solidFill>
              </a:rPr>
              <a:t>SAPxGenAI</a:t>
            </a:r>
            <a:r>
              <a:rPr lang="en-US" spc="300" dirty="0">
                <a:solidFill>
                  <a:srgbClr val="2D3842"/>
                </a:solidFill>
              </a:rPr>
              <a:t> Hackathon 2025 I 21.-24.01.2025 I SAP Lab München</a:t>
            </a:r>
          </a:p>
        </p:txBody>
      </p:sp>
      <p:sp>
        <p:nvSpPr>
          <p:cNvPr id="4" name="Textfeld 3">
            <a:extLst>
              <a:ext uri="{FF2B5EF4-FFF2-40B4-BE49-F238E27FC236}">
                <a16:creationId xmlns:a16="http://schemas.microsoft.com/office/drawing/2014/main" id="{A6F11951-9AE7-52F2-4AAA-E984D2BFA633}"/>
              </a:ext>
            </a:extLst>
          </p:cNvPr>
          <p:cNvSpPr txBox="1"/>
          <p:nvPr/>
        </p:nvSpPr>
        <p:spPr bwMode="auto">
          <a:xfrm>
            <a:off x="4479533" y="215757"/>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none" lIns="0" tIns="0" rIns="0" bIns="0" numCol="1" rtlCol="0" anchor="t" anchorCtr="0" compatLnSpc="1">
            <a:prstTxWarp prst="textNoShape">
              <a:avLst/>
            </a:prstTxWarp>
            <a:noAutofit/>
          </a:bodyPr>
          <a:lstStyle/>
          <a:p>
            <a:endParaRPr lang="de-DE" sz="1300" dirty="0"/>
          </a:p>
        </p:txBody>
      </p:sp>
      <p:sp>
        <p:nvSpPr>
          <p:cNvPr id="25" name="Textfeld 24">
            <a:extLst>
              <a:ext uri="{FF2B5EF4-FFF2-40B4-BE49-F238E27FC236}">
                <a16:creationId xmlns:a16="http://schemas.microsoft.com/office/drawing/2014/main" id="{5FF889C3-9030-792C-8E44-89CB862BD858}"/>
              </a:ext>
            </a:extLst>
          </p:cNvPr>
          <p:cNvSpPr txBox="1"/>
          <p:nvPr/>
        </p:nvSpPr>
        <p:spPr bwMode="auto">
          <a:xfrm>
            <a:off x="4772578" y="3937205"/>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none" lIns="0" tIns="0" rIns="0" bIns="0" numCol="1" rtlCol="0" anchor="t" anchorCtr="0" compatLnSpc="1">
            <a:prstTxWarp prst="textNoShape">
              <a:avLst/>
            </a:prstTxWarp>
            <a:noAutofit/>
          </a:bodyPr>
          <a:lstStyle/>
          <a:p>
            <a:endParaRPr lang="de-DE" sz="1300" dirty="0"/>
          </a:p>
        </p:txBody>
      </p:sp>
      <p:pic>
        <p:nvPicPr>
          <p:cNvPr id="5" name="Picture 12" descr="File:SAP AG (logo).gif - Wikipedia">
            <a:extLst>
              <a:ext uri="{FF2B5EF4-FFF2-40B4-BE49-F238E27FC236}">
                <a16:creationId xmlns:a16="http://schemas.microsoft.com/office/drawing/2014/main" id="{EA3C3715-9A99-8923-BB19-3CFB315B9611}"/>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47482" y="6281628"/>
            <a:ext cx="893480" cy="357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2346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abelle 26">
            <a:extLst>
              <a:ext uri="{FF2B5EF4-FFF2-40B4-BE49-F238E27FC236}">
                <a16:creationId xmlns:a16="http://schemas.microsoft.com/office/drawing/2014/main" id="{9DC21B36-4663-FE43-EF7A-55BBACF60C60}"/>
              </a:ext>
            </a:extLst>
          </p:cNvPr>
          <p:cNvGraphicFramePr>
            <a:graphicFrameLocks noGrp="1"/>
          </p:cNvGraphicFramePr>
          <p:nvPr>
            <p:extLst>
              <p:ext uri="{D42A27DB-BD31-4B8C-83A1-F6EECF244321}">
                <p14:modId xmlns:p14="http://schemas.microsoft.com/office/powerpoint/2010/main" val="3631896428"/>
              </p:ext>
            </p:extLst>
          </p:nvPr>
        </p:nvGraphicFramePr>
        <p:xfrm>
          <a:off x="576000" y="1349504"/>
          <a:ext cx="11076000" cy="4677998"/>
        </p:xfrm>
        <a:graphic>
          <a:graphicData uri="http://schemas.openxmlformats.org/drawingml/2006/table">
            <a:tbl>
              <a:tblPr firstRow="1" bandRow="1">
                <a:tableStyleId>{5DA37D80-6434-44D0-A028-1B22A696006F}</a:tableStyleId>
              </a:tblPr>
              <a:tblGrid>
                <a:gridCol w="1846000">
                  <a:extLst>
                    <a:ext uri="{9D8B030D-6E8A-4147-A177-3AD203B41FA5}">
                      <a16:colId xmlns:a16="http://schemas.microsoft.com/office/drawing/2014/main" val="2197553485"/>
                    </a:ext>
                  </a:extLst>
                </a:gridCol>
                <a:gridCol w="1846000">
                  <a:extLst>
                    <a:ext uri="{9D8B030D-6E8A-4147-A177-3AD203B41FA5}">
                      <a16:colId xmlns:a16="http://schemas.microsoft.com/office/drawing/2014/main" val="349865722"/>
                    </a:ext>
                  </a:extLst>
                </a:gridCol>
                <a:gridCol w="1846000">
                  <a:extLst>
                    <a:ext uri="{9D8B030D-6E8A-4147-A177-3AD203B41FA5}">
                      <a16:colId xmlns:a16="http://schemas.microsoft.com/office/drawing/2014/main" val="1203206550"/>
                    </a:ext>
                  </a:extLst>
                </a:gridCol>
                <a:gridCol w="1846000">
                  <a:extLst>
                    <a:ext uri="{9D8B030D-6E8A-4147-A177-3AD203B41FA5}">
                      <a16:colId xmlns:a16="http://schemas.microsoft.com/office/drawing/2014/main" val="3855186556"/>
                    </a:ext>
                  </a:extLst>
                </a:gridCol>
                <a:gridCol w="1846000">
                  <a:extLst>
                    <a:ext uri="{9D8B030D-6E8A-4147-A177-3AD203B41FA5}">
                      <a16:colId xmlns:a16="http://schemas.microsoft.com/office/drawing/2014/main" val="91624602"/>
                    </a:ext>
                  </a:extLst>
                </a:gridCol>
                <a:gridCol w="1846000">
                  <a:extLst>
                    <a:ext uri="{9D8B030D-6E8A-4147-A177-3AD203B41FA5}">
                      <a16:colId xmlns:a16="http://schemas.microsoft.com/office/drawing/2014/main" val="2588148681"/>
                    </a:ext>
                  </a:extLst>
                </a:gridCol>
              </a:tblGrid>
              <a:tr h="1006826">
                <a:tc>
                  <a:txBody>
                    <a:bodyPr/>
                    <a:lstStyle/>
                    <a:p>
                      <a:r>
                        <a:rPr lang="de-CH" dirty="0"/>
                        <a:t>«Teamname»</a:t>
                      </a:r>
                    </a:p>
                  </a:txBody>
                  <a:tcPr/>
                </a:tc>
                <a:tc>
                  <a:txBody>
                    <a:bodyPr/>
                    <a:lstStyle/>
                    <a:p>
                      <a:r>
                        <a:rPr lang="de-DE" sz="1800" b="0" dirty="0">
                          <a:solidFill>
                            <a:srgbClr val="000000"/>
                          </a:solidFill>
                          <a:effectLst/>
                        </a:rPr>
                        <a:t>Product Owner</a:t>
                      </a:r>
                    </a:p>
                    <a:p>
                      <a:r>
                        <a:rPr lang="de-DE" sz="1800" b="0" dirty="0">
                          <a:solidFill>
                            <a:srgbClr val="000000"/>
                          </a:solidFill>
                        </a:rPr>
                        <a:t>(obligatorisch)</a:t>
                      </a:r>
                    </a:p>
                    <a:p>
                      <a:endParaRPr lang="de-DE" sz="1800" b="0" dirty="0">
                        <a:solidFill>
                          <a:srgbClr val="000000"/>
                        </a:solidFill>
                        <a:latin typeface="Helvetica" pitchFamily="2" charset="0"/>
                      </a:endParaRPr>
                    </a:p>
                  </a:txBody>
                  <a:tcPr/>
                </a:tc>
                <a:tc>
                  <a:txBody>
                    <a:bodyPr/>
                    <a:lstStyle/>
                    <a:p>
                      <a:r>
                        <a:rPr lang="de-DE" sz="1800" b="0" dirty="0">
                          <a:solidFill>
                            <a:srgbClr val="000000"/>
                          </a:solidFill>
                          <a:effectLst/>
                        </a:rPr>
                        <a:t>DEV #1</a:t>
                      </a:r>
                    </a:p>
                    <a:p>
                      <a:r>
                        <a:rPr lang="de-DE" sz="1800" b="0" dirty="0">
                          <a:solidFill>
                            <a:srgbClr val="000000"/>
                          </a:solidFill>
                        </a:rPr>
                        <a:t>(obligatorisch)</a:t>
                      </a:r>
                      <a:endParaRPr lang="de-DE" sz="1800" b="0" dirty="0">
                        <a:solidFill>
                          <a:srgbClr val="000000"/>
                        </a:solidFill>
                        <a:latin typeface="Helvetica" pitchFamily="2" charset="0"/>
                      </a:endParaRPr>
                    </a:p>
                  </a:txBody>
                  <a:tcPr/>
                </a:tc>
                <a:tc>
                  <a:txBody>
                    <a:bodyPr/>
                    <a:lstStyle/>
                    <a:p>
                      <a:r>
                        <a:rPr lang="de-DE" sz="1800" b="0" dirty="0">
                          <a:solidFill>
                            <a:srgbClr val="000000"/>
                          </a:solidFill>
                          <a:effectLst/>
                        </a:rPr>
                        <a:t>DEV #2</a:t>
                      </a:r>
                    </a:p>
                    <a:p>
                      <a:r>
                        <a:rPr lang="de-DE" sz="1800" b="0" dirty="0">
                          <a:solidFill>
                            <a:srgbClr val="000000"/>
                          </a:solidFill>
                        </a:rPr>
                        <a:t>(obligatorisch)</a:t>
                      </a:r>
                      <a:endParaRPr lang="de-DE" sz="1800" b="0" dirty="0">
                        <a:solidFill>
                          <a:srgbClr val="000000"/>
                        </a:solidFill>
                        <a:latin typeface="Helvetica" pitchFamily="2" charset="0"/>
                      </a:endParaRPr>
                    </a:p>
                  </a:txBody>
                  <a:tcPr/>
                </a:tc>
                <a:tc>
                  <a:txBody>
                    <a:bodyPr/>
                    <a:lstStyle/>
                    <a:p>
                      <a:r>
                        <a:rPr lang="de-DE" sz="1800" b="0" dirty="0">
                          <a:solidFill>
                            <a:srgbClr val="000000"/>
                          </a:solidFill>
                          <a:effectLst/>
                        </a:rPr>
                        <a:t>DEV #3</a:t>
                      </a:r>
                    </a:p>
                    <a:p>
                      <a:r>
                        <a:rPr lang="de-DE" sz="1800" b="0" dirty="0">
                          <a:solidFill>
                            <a:srgbClr val="000000"/>
                          </a:solidFill>
                        </a:rPr>
                        <a:t>(optional)</a:t>
                      </a:r>
                      <a:endParaRPr lang="de-DE" sz="1800" b="0" dirty="0">
                        <a:solidFill>
                          <a:srgbClr val="000000"/>
                        </a:solidFill>
                        <a:latin typeface="Helvetica" pitchFamily="2" charset="0"/>
                      </a:endParaRPr>
                    </a:p>
                  </a:txBody>
                  <a:tcPr/>
                </a:tc>
                <a:tc>
                  <a:txBody>
                    <a:bodyPr/>
                    <a:lstStyle/>
                    <a:p>
                      <a:r>
                        <a:rPr lang="de-DE" sz="1800" b="0" dirty="0">
                          <a:solidFill>
                            <a:srgbClr val="000000"/>
                          </a:solidFill>
                          <a:effectLst/>
                        </a:rPr>
                        <a:t>DEV #4</a:t>
                      </a:r>
                    </a:p>
                    <a:p>
                      <a:r>
                        <a:rPr lang="de-DE" sz="1800" b="0" dirty="0">
                          <a:solidFill>
                            <a:srgbClr val="000000"/>
                          </a:solidFill>
                        </a:rPr>
                        <a:t>(optional)</a:t>
                      </a:r>
                      <a:endParaRPr lang="de-DE" sz="1800" b="0" dirty="0">
                        <a:solidFill>
                          <a:srgbClr val="000000"/>
                        </a:solidFill>
                        <a:latin typeface="Helvetica" pitchFamily="2" charset="0"/>
                      </a:endParaRPr>
                    </a:p>
                  </a:txBody>
                  <a:tcPr/>
                </a:tc>
                <a:extLst>
                  <a:ext uri="{0D108BD9-81ED-4DB2-BD59-A6C34878D82A}">
                    <a16:rowId xmlns:a16="http://schemas.microsoft.com/office/drawing/2014/main" val="1587417411"/>
                  </a:ext>
                </a:extLst>
              </a:tr>
              <a:tr h="714038">
                <a:tc>
                  <a:txBody>
                    <a:bodyPr/>
                    <a:lstStyle/>
                    <a:p>
                      <a:r>
                        <a:rPr lang="de-DE" dirty="0"/>
                        <a:t>Name:</a:t>
                      </a:r>
                      <a:endParaRPr lang="de-CH" dirty="0"/>
                    </a:p>
                  </a:txBody>
                  <a:tcPr/>
                </a:tc>
                <a:tc>
                  <a:txBody>
                    <a:bodyPr/>
                    <a:lstStyle/>
                    <a:p>
                      <a:endParaRPr lang="de-CH" dirty="0"/>
                    </a:p>
                  </a:txBody>
                  <a:tcPr/>
                </a:tc>
                <a:tc>
                  <a:txBody>
                    <a:bodyPr/>
                    <a:lstStyle/>
                    <a:p>
                      <a:endParaRPr lang="de-CH" dirty="0"/>
                    </a:p>
                  </a:txBody>
                  <a:tcPr/>
                </a:tc>
                <a:tc>
                  <a:txBody>
                    <a:bodyPr/>
                    <a:lstStyle/>
                    <a:p>
                      <a:endParaRPr lang="de-CH" dirty="0"/>
                    </a:p>
                  </a:txBody>
                  <a:tcPr/>
                </a:tc>
                <a:tc>
                  <a:txBody>
                    <a:bodyPr/>
                    <a:lstStyle/>
                    <a:p>
                      <a:endParaRPr lang="de-CH" dirty="0"/>
                    </a:p>
                  </a:txBody>
                  <a:tcPr/>
                </a:tc>
                <a:tc>
                  <a:txBody>
                    <a:bodyPr/>
                    <a:lstStyle/>
                    <a:p>
                      <a:endParaRPr lang="de-CH" dirty="0"/>
                    </a:p>
                  </a:txBody>
                  <a:tcPr/>
                </a:tc>
                <a:extLst>
                  <a:ext uri="{0D108BD9-81ED-4DB2-BD59-A6C34878D82A}">
                    <a16:rowId xmlns:a16="http://schemas.microsoft.com/office/drawing/2014/main" val="1708193035"/>
                  </a:ext>
                </a:extLst>
              </a:tr>
              <a:tr h="714038">
                <a:tc>
                  <a:txBody>
                    <a:bodyPr/>
                    <a:lstStyle/>
                    <a:p>
                      <a:r>
                        <a:rPr lang="de-DE" dirty="0"/>
                        <a:t>E-Mail:</a:t>
                      </a:r>
                      <a:endParaRPr lang="de-CH" dirty="0"/>
                    </a:p>
                  </a:txBody>
                  <a:tcPr/>
                </a:tc>
                <a:tc>
                  <a:txBody>
                    <a:bodyPr/>
                    <a:lstStyle/>
                    <a:p>
                      <a:endParaRPr lang="de-CH" dirty="0"/>
                    </a:p>
                  </a:txBody>
                  <a:tcPr/>
                </a:tc>
                <a:tc>
                  <a:txBody>
                    <a:bodyPr/>
                    <a:lstStyle/>
                    <a:p>
                      <a:endParaRPr lang="de-CH" dirty="0"/>
                    </a:p>
                  </a:txBody>
                  <a:tcPr/>
                </a:tc>
                <a:tc>
                  <a:txBody>
                    <a:bodyPr/>
                    <a:lstStyle/>
                    <a:p>
                      <a:endParaRPr lang="de-CH" dirty="0"/>
                    </a:p>
                  </a:txBody>
                  <a:tcPr/>
                </a:tc>
                <a:tc>
                  <a:txBody>
                    <a:bodyPr/>
                    <a:lstStyle/>
                    <a:p>
                      <a:endParaRPr lang="de-CH" dirty="0"/>
                    </a:p>
                  </a:txBody>
                  <a:tcPr/>
                </a:tc>
                <a:tc>
                  <a:txBody>
                    <a:bodyPr/>
                    <a:lstStyle/>
                    <a:p>
                      <a:endParaRPr lang="de-CH" dirty="0"/>
                    </a:p>
                  </a:txBody>
                  <a:tcPr/>
                </a:tc>
                <a:extLst>
                  <a:ext uri="{0D108BD9-81ED-4DB2-BD59-A6C34878D82A}">
                    <a16:rowId xmlns:a16="http://schemas.microsoft.com/office/drawing/2014/main" val="3428431250"/>
                  </a:ext>
                </a:extLst>
              </a:tr>
              <a:tr h="714038">
                <a:tc>
                  <a:txBody>
                    <a:bodyPr/>
                    <a:lstStyle/>
                    <a:p>
                      <a:r>
                        <a:rPr lang="de-DE" dirty="0"/>
                        <a:t>Telefon:</a:t>
                      </a:r>
                      <a:endParaRPr lang="de-CH" dirty="0"/>
                    </a:p>
                  </a:txBody>
                  <a:tcPr/>
                </a:tc>
                <a:tc>
                  <a:txBody>
                    <a:bodyPr/>
                    <a:lstStyle/>
                    <a:p>
                      <a:endParaRPr lang="de-CH" dirty="0"/>
                    </a:p>
                  </a:txBody>
                  <a:tcPr/>
                </a:tc>
                <a:tc>
                  <a:txBody>
                    <a:bodyPr/>
                    <a:lstStyle/>
                    <a:p>
                      <a:endParaRPr lang="de-CH" dirty="0"/>
                    </a:p>
                  </a:txBody>
                  <a:tcPr/>
                </a:tc>
                <a:tc>
                  <a:txBody>
                    <a:bodyPr/>
                    <a:lstStyle/>
                    <a:p>
                      <a:endParaRPr lang="de-CH" dirty="0"/>
                    </a:p>
                  </a:txBody>
                  <a:tcPr/>
                </a:tc>
                <a:tc>
                  <a:txBody>
                    <a:bodyPr/>
                    <a:lstStyle/>
                    <a:p>
                      <a:endParaRPr lang="de-CH" dirty="0"/>
                    </a:p>
                  </a:txBody>
                  <a:tcPr/>
                </a:tc>
                <a:tc>
                  <a:txBody>
                    <a:bodyPr/>
                    <a:lstStyle/>
                    <a:p>
                      <a:endParaRPr lang="de-CH" dirty="0"/>
                    </a:p>
                  </a:txBody>
                  <a:tcPr/>
                </a:tc>
                <a:extLst>
                  <a:ext uri="{0D108BD9-81ED-4DB2-BD59-A6C34878D82A}">
                    <a16:rowId xmlns:a16="http://schemas.microsoft.com/office/drawing/2014/main" val="85205938"/>
                  </a:ext>
                </a:extLst>
              </a:tr>
              <a:tr h="714038">
                <a:tc>
                  <a:txBody>
                    <a:bodyPr/>
                    <a:lstStyle/>
                    <a:p>
                      <a:r>
                        <a:rPr lang="de-CH" dirty="0" err="1"/>
                        <a:t>Skill</a:t>
                      </a:r>
                      <a:r>
                        <a:rPr lang="de-CH" dirty="0"/>
                        <a:t>:</a:t>
                      </a:r>
                    </a:p>
                  </a:txBody>
                  <a:tcPr/>
                </a:tc>
                <a:tc>
                  <a:txBody>
                    <a:bodyPr/>
                    <a:lstStyle/>
                    <a:p>
                      <a:endParaRPr lang="de-CH" dirty="0"/>
                    </a:p>
                  </a:txBody>
                  <a:tcPr/>
                </a:tc>
                <a:tc>
                  <a:txBody>
                    <a:bodyPr/>
                    <a:lstStyle/>
                    <a:p>
                      <a:endParaRPr lang="de-CH" dirty="0"/>
                    </a:p>
                  </a:txBody>
                  <a:tcPr/>
                </a:tc>
                <a:tc>
                  <a:txBody>
                    <a:bodyPr/>
                    <a:lstStyle/>
                    <a:p>
                      <a:endParaRPr lang="de-CH" dirty="0"/>
                    </a:p>
                  </a:txBody>
                  <a:tcPr/>
                </a:tc>
                <a:tc>
                  <a:txBody>
                    <a:bodyPr/>
                    <a:lstStyle/>
                    <a:p>
                      <a:endParaRPr lang="de-CH" dirty="0"/>
                    </a:p>
                  </a:txBody>
                  <a:tcPr/>
                </a:tc>
                <a:tc>
                  <a:txBody>
                    <a:bodyPr/>
                    <a:lstStyle/>
                    <a:p>
                      <a:endParaRPr lang="de-CH" dirty="0"/>
                    </a:p>
                  </a:txBody>
                  <a:tcPr/>
                </a:tc>
                <a:extLst>
                  <a:ext uri="{0D108BD9-81ED-4DB2-BD59-A6C34878D82A}">
                    <a16:rowId xmlns:a16="http://schemas.microsoft.com/office/drawing/2014/main" val="1954324965"/>
                  </a:ext>
                </a:extLst>
              </a:tr>
              <a:tr h="815020">
                <a:tc>
                  <a:txBody>
                    <a:bodyPr/>
                    <a:lstStyle/>
                    <a:p>
                      <a:r>
                        <a:rPr lang="de-DE" dirty="0"/>
                        <a:t>Erfahrung:</a:t>
                      </a:r>
                      <a:endParaRPr lang="de-CH" dirty="0"/>
                    </a:p>
                  </a:txBody>
                  <a:tcPr/>
                </a:tc>
                <a:tc>
                  <a:txBody>
                    <a:bodyPr/>
                    <a:lstStyle/>
                    <a:p>
                      <a:endParaRPr lang="de-CH" dirty="0"/>
                    </a:p>
                  </a:txBody>
                  <a:tcPr/>
                </a:tc>
                <a:tc>
                  <a:txBody>
                    <a:bodyPr/>
                    <a:lstStyle/>
                    <a:p>
                      <a:endParaRPr lang="de-CH" dirty="0"/>
                    </a:p>
                  </a:txBody>
                  <a:tcPr/>
                </a:tc>
                <a:tc>
                  <a:txBody>
                    <a:bodyPr/>
                    <a:lstStyle/>
                    <a:p>
                      <a:endParaRPr lang="de-CH" dirty="0"/>
                    </a:p>
                  </a:txBody>
                  <a:tcPr/>
                </a:tc>
                <a:tc>
                  <a:txBody>
                    <a:bodyPr/>
                    <a:lstStyle/>
                    <a:p>
                      <a:endParaRPr lang="de-CH" dirty="0"/>
                    </a:p>
                  </a:txBody>
                  <a:tcPr/>
                </a:tc>
                <a:tc>
                  <a:txBody>
                    <a:bodyPr/>
                    <a:lstStyle/>
                    <a:p>
                      <a:endParaRPr lang="de-CH" dirty="0"/>
                    </a:p>
                  </a:txBody>
                  <a:tcPr/>
                </a:tc>
                <a:extLst>
                  <a:ext uri="{0D108BD9-81ED-4DB2-BD59-A6C34878D82A}">
                    <a16:rowId xmlns:a16="http://schemas.microsoft.com/office/drawing/2014/main" val="2475552450"/>
                  </a:ext>
                </a:extLst>
              </a:tr>
            </a:tbl>
          </a:graphicData>
        </a:graphic>
      </p:graphicFrame>
      <p:pic>
        <p:nvPicPr>
          <p:cNvPr id="35" name="Grafik 34" descr="Programmiererin Silhouette">
            <a:extLst>
              <a:ext uri="{FF2B5EF4-FFF2-40B4-BE49-F238E27FC236}">
                <a16:creationId xmlns:a16="http://schemas.microsoft.com/office/drawing/2014/main" id="{6991C35E-119F-8048-74E4-965D873A06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21581" y="1845805"/>
            <a:ext cx="468000" cy="468000"/>
          </a:xfrm>
          <a:prstGeom prst="rect">
            <a:avLst/>
          </a:prstGeom>
        </p:spPr>
      </p:pic>
      <p:pic>
        <p:nvPicPr>
          <p:cNvPr id="37" name="Grafik 36" descr="Laptop Silhouette">
            <a:extLst>
              <a:ext uri="{FF2B5EF4-FFF2-40B4-BE49-F238E27FC236}">
                <a16:creationId xmlns:a16="http://schemas.microsoft.com/office/drawing/2014/main" id="{FFB0C510-AD48-AA92-1B97-6490CF800BF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84000" y="1875948"/>
            <a:ext cx="468000" cy="468000"/>
          </a:xfrm>
          <a:prstGeom prst="rect">
            <a:avLst/>
          </a:prstGeom>
        </p:spPr>
      </p:pic>
      <p:graphicFrame>
        <p:nvGraphicFramePr>
          <p:cNvPr id="9" name="Objek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592" imgH="591" progId="TCLayout.ActiveDocument.1">
                  <p:embed/>
                </p:oleObj>
              </mc:Choice>
              <mc:Fallback>
                <p:oleObj name="think-cell Folie" r:id="rId9" imgW="592" imgH="591" progId="TCLayout.ActiveDocument.1">
                  <p:embed/>
                  <p:pic>
                    <p:nvPicPr>
                      <p:cNvPr id="9" name="Objekt 8"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267D25-6DCB-4FAF-B775-912A446FB0CA}"/>
              </a:ext>
            </a:extLst>
          </p:cNvPr>
          <p:cNvSpPr/>
          <p:nvPr>
            <p:custDataLst>
              <p:tags r:id="rId2"/>
            </p:custDataLst>
          </p:nvPr>
        </p:nvSpPr>
        <p:spPr bwMode="gray">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0000"/>
              </a:lnSpc>
            </a:pPr>
            <a:endParaRPr lang="de-DE" sz="2800" b="1">
              <a:solidFill>
                <a:schemeClr val="bg1"/>
              </a:solidFill>
              <a:latin typeface="Segoe UI" panose="020B0502040204020203" pitchFamily="34" charset="0"/>
              <a:ea typeface="+mj-ea"/>
              <a:cs typeface="Porsche Next TT Thin" panose="020B0404020101010102" pitchFamily="34" charset="0"/>
              <a:sym typeface="Segoe UI" panose="020B0502040204020203" pitchFamily="34" charset="0"/>
            </a:endParaRPr>
          </a:p>
        </p:txBody>
      </p:sp>
      <p:sp>
        <p:nvSpPr>
          <p:cNvPr id="2" name="Titel 1"/>
          <p:cNvSpPr>
            <a:spLocks noGrp="1"/>
          </p:cNvSpPr>
          <p:nvPr>
            <p:ph type="title"/>
          </p:nvPr>
        </p:nvSpPr>
        <p:spPr/>
        <p:txBody>
          <a:bodyPr>
            <a:normAutofit/>
          </a:bodyPr>
          <a:lstStyle/>
          <a:p>
            <a:r>
              <a:rPr lang="de-DE" sz="2400" dirty="0"/>
              <a:t>3. Ihr Hackathon Team</a:t>
            </a:r>
            <a:endParaRPr lang="en-US" sz="2400" dirty="0"/>
          </a:p>
        </p:txBody>
      </p:sp>
      <p:sp>
        <p:nvSpPr>
          <p:cNvPr id="65" name="Textplatzhalter 35">
            <a:extLst>
              <a:ext uri="{FF2B5EF4-FFF2-40B4-BE49-F238E27FC236}">
                <a16:creationId xmlns:a16="http://schemas.microsoft.com/office/drawing/2014/main" id="{5312BE89-CBC3-4C14-82F4-27541239CDF7}"/>
              </a:ext>
            </a:extLst>
          </p:cNvPr>
          <p:cNvSpPr>
            <a:spLocks noGrp="1"/>
          </p:cNvSpPr>
          <p:nvPr>
            <p:ph type="body" sz="quarter" idx="14"/>
          </p:nvPr>
        </p:nvSpPr>
        <p:spPr/>
        <p:txBody>
          <a:bodyPr/>
          <a:lstStyle/>
          <a:p>
            <a:r>
              <a:rPr lang="en-US" spc="300" dirty="0">
                <a:solidFill>
                  <a:srgbClr val="2D3842"/>
                </a:solidFill>
              </a:rPr>
              <a:t>valantic </a:t>
            </a:r>
            <a:r>
              <a:rPr lang="en-US" spc="300" dirty="0" err="1">
                <a:solidFill>
                  <a:srgbClr val="2D3842"/>
                </a:solidFill>
              </a:rPr>
              <a:t>SAPxGenAI</a:t>
            </a:r>
            <a:r>
              <a:rPr lang="en-US" spc="300" dirty="0">
                <a:solidFill>
                  <a:srgbClr val="2D3842"/>
                </a:solidFill>
              </a:rPr>
              <a:t> Hackathon 2025 I 21.-24.01.2025 I SAP Lab München</a:t>
            </a:r>
          </a:p>
        </p:txBody>
      </p:sp>
      <p:sp>
        <p:nvSpPr>
          <p:cNvPr id="4" name="Textfeld 3">
            <a:extLst>
              <a:ext uri="{FF2B5EF4-FFF2-40B4-BE49-F238E27FC236}">
                <a16:creationId xmlns:a16="http://schemas.microsoft.com/office/drawing/2014/main" id="{A6F11951-9AE7-52F2-4AAA-E984D2BFA633}"/>
              </a:ext>
            </a:extLst>
          </p:cNvPr>
          <p:cNvSpPr txBox="1"/>
          <p:nvPr/>
        </p:nvSpPr>
        <p:spPr bwMode="auto">
          <a:xfrm>
            <a:off x="4479533" y="215757"/>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none" lIns="0" tIns="0" rIns="0" bIns="0" numCol="1" rtlCol="0" anchor="t" anchorCtr="0" compatLnSpc="1">
            <a:prstTxWarp prst="textNoShape">
              <a:avLst/>
            </a:prstTxWarp>
            <a:noAutofit/>
          </a:bodyPr>
          <a:lstStyle/>
          <a:p>
            <a:endParaRPr lang="de-DE" sz="1300" dirty="0"/>
          </a:p>
        </p:txBody>
      </p:sp>
      <p:pic>
        <p:nvPicPr>
          <p:cNvPr id="31" name="Grafik 30" descr="Programmierer mit einfarbiger Füllung">
            <a:extLst>
              <a:ext uri="{FF2B5EF4-FFF2-40B4-BE49-F238E27FC236}">
                <a16:creationId xmlns:a16="http://schemas.microsoft.com/office/drawing/2014/main" id="{E9B768AE-D292-6B33-47E8-14DA0D6136C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29836" y="1834414"/>
            <a:ext cx="466164" cy="466164"/>
          </a:xfrm>
          <a:prstGeom prst="rect">
            <a:avLst/>
          </a:prstGeom>
        </p:spPr>
      </p:pic>
      <p:pic>
        <p:nvPicPr>
          <p:cNvPr id="33" name="Grafik 32" descr="Ethernet mit einfarbiger Füllung">
            <a:extLst>
              <a:ext uri="{FF2B5EF4-FFF2-40B4-BE49-F238E27FC236}">
                <a16:creationId xmlns:a16="http://schemas.microsoft.com/office/drawing/2014/main" id="{72FF0CF9-82F1-9FB4-FAB0-0EDB000ED44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00805" y="1875948"/>
            <a:ext cx="468000" cy="468000"/>
          </a:xfrm>
          <a:prstGeom prst="rect">
            <a:avLst/>
          </a:prstGeom>
        </p:spPr>
      </p:pic>
      <p:pic>
        <p:nvPicPr>
          <p:cNvPr id="39" name="Grafik 38" descr="Büromitarbeiter Silhouette">
            <a:extLst>
              <a:ext uri="{FF2B5EF4-FFF2-40B4-BE49-F238E27FC236}">
                <a16:creationId xmlns:a16="http://schemas.microsoft.com/office/drawing/2014/main" id="{8FED6FDF-A0C9-F561-EC09-FD9CF2C707B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817610" y="1875948"/>
            <a:ext cx="468000" cy="468000"/>
          </a:xfrm>
          <a:prstGeom prst="rect">
            <a:avLst/>
          </a:prstGeom>
        </p:spPr>
      </p:pic>
      <p:pic>
        <p:nvPicPr>
          <p:cNvPr id="3" name="Picture 12" descr="File:SAP AG (logo).gif - Wikipedia">
            <a:extLst>
              <a:ext uri="{FF2B5EF4-FFF2-40B4-BE49-F238E27FC236}">
                <a16:creationId xmlns:a16="http://schemas.microsoft.com/office/drawing/2014/main" id="{9514B15D-5147-41C9-00B7-977ED9AB4609}"/>
              </a:ext>
            </a:extLst>
          </p:cNvPr>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47482" y="6281628"/>
            <a:ext cx="893480" cy="357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38067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4B04570D-D82A-D8AA-28C6-5DAE22EDB5E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66355A-084C-D24E-9AD2-7E4FC41EA627}" type="slidenum">
              <a:rPr kumimoji="0" lang="en-US" sz="1000" b="0" i="0" u="none" strike="noStrike" kern="1200" cap="none" spc="0" normalizeH="0" baseline="0" noProof="0" smtClean="0">
                <a:ln>
                  <a:noFill/>
                </a:ln>
                <a:solidFill>
                  <a:srgbClr val="575757"/>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575757"/>
              </a:solidFill>
              <a:effectLst/>
              <a:uLnTx/>
              <a:uFillTx/>
              <a:latin typeface="Segoe UI"/>
              <a:ea typeface="+mn-ea"/>
              <a:cs typeface="+mn-cs"/>
            </a:endParaRPr>
          </a:p>
        </p:txBody>
      </p:sp>
      <p:sp>
        <p:nvSpPr>
          <p:cNvPr id="4" name="Fußzeilenplatzhalter 3">
            <a:extLst>
              <a:ext uri="{FF2B5EF4-FFF2-40B4-BE49-F238E27FC236}">
                <a16:creationId xmlns:a16="http://schemas.microsoft.com/office/drawing/2014/main" id="{9F92B2AB-4597-0486-F327-2E95561993C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75757"/>
              </a:solidFill>
              <a:effectLst/>
              <a:uLnTx/>
              <a:uFillTx/>
              <a:latin typeface="Segoe UI"/>
              <a:ea typeface="+mn-ea"/>
              <a:cs typeface="+mn-cs"/>
            </a:endParaRPr>
          </a:p>
        </p:txBody>
      </p:sp>
      <p:sp>
        <p:nvSpPr>
          <p:cNvPr id="3" name="Datumsplatzhalter 2">
            <a:extLst>
              <a:ext uri="{FF2B5EF4-FFF2-40B4-BE49-F238E27FC236}">
                <a16:creationId xmlns:a16="http://schemas.microsoft.com/office/drawing/2014/main" id="{B1A36B4E-B489-FD19-067B-2FB89C4395C0}"/>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75757"/>
              </a:solidFill>
              <a:effectLst/>
              <a:uLnTx/>
              <a:uFillTx/>
              <a:latin typeface="Segoe UI"/>
              <a:ea typeface="+mn-ea"/>
              <a:cs typeface="+mn-cs"/>
            </a:endParaRPr>
          </a:p>
        </p:txBody>
      </p:sp>
      <p:sp>
        <p:nvSpPr>
          <p:cNvPr id="11" name="Textplatzhalter 10">
            <a:extLst>
              <a:ext uri="{FF2B5EF4-FFF2-40B4-BE49-F238E27FC236}">
                <a16:creationId xmlns:a16="http://schemas.microsoft.com/office/drawing/2014/main" id="{29DB15C3-C0A3-D1E2-769F-9CC577728A03}"/>
              </a:ext>
            </a:extLst>
          </p:cNvPr>
          <p:cNvSpPr>
            <a:spLocks noGrp="1"/>
          </p:cNvSpPr>
          <p:nvPr>
            <p:ph type="body" idx="15"/>
          </p:nvPr>
        </p:nvSpPr>
        <p:spPr>
          <a:xfrm>
            <a:off x="4354894" y="5398930"/>
            <a:ext cx="2880000" cy="894136"/>
          </a:xfrm>
        </p:spPr>
        <p:txBody>
          <a:bodyPr/>
          <a:lstStyle/>
          <a:p>
            <a:pPr>
              <a:lnSpc>
                <a:spcPct val="100000"/>
              </a:lnSpc>
              <a:spcBef>
                <a:spcPts val="0"/>
              </a:spcBef>
            </a:pPr>
            <a:r>
              <a:rPr lang="de-DE" sz="1300" dirty="0"/>
              <a:t>Timo Rüb</a:t>
            </a:r>
          </a:p>
          <a:p>
            <a:pPr>
              <a:lnSpc>
                <a:spcPct val="100000"/>
              </a:lnSpc>
              <a:spcBef>
                <a:spcPts val="0"/>
              </a:spcBef>
            </a:pPr>
            <a:r>
              <a:rPr lang="de-DE" sz="1300" dirty="0"/>
              <a:t>Mitglied der Geschäftsleitung und Leiter der valantic SAP BTP Factory</a:t>
            </a:r>
          </a:p>
          <a:p>
            <a:pPr>
              <a:lnSpc>
                <a:spcPct val="100000"/>
              </a:lnSpc>
              <a:spcBef>
                <a:spcPts val="0"/>
              </a:spcBef>
            </a:pPr>
            <a:r>
              <a:rPr lang="de-DE" sz="1300" dirty="0">
                <a:hlinkClick r:id="rId2"/>
              </a:rPr>
              <a:t>timo.rueb@erp.valantic.com</a:t>
            </a:r>
            <a:r>
              <a:rPr lang="de-DE" sz="1300" dirty="0"/>
              <a:t> </a:t>
            </a:r>
          </a:p>
        </p:txBody>
      </p:sp>
      <p:sp>
        <p:nvSpPr>
          <p:cNvPr id="10" name="Textplatzhalter 9">
            <a:extLst>
              <a:ext uri="{FF2B5EF4-FFF2-40B4-BE49-F238E27FC236}">
                <a16:creationId xmlns:a16="http://schemas.microsoft.com/office/drawing/2014/main" id="{66577810-A0EF-3EAC-4476-C90D0D04EC2D}"/>
              </a:ext>
            </a:extLst>
          </p:cNvPr>
          <p:cNvSpPr>
            <a:spLocks noGrp="1"/>
          </p:cNvSpPr>
          <p:nvPr>
            <p:ph type="body" idx="14"/>
          </p:nvPr>
        </p:nvSpPr>
        <p:spPr>
          <a:xfrm>
            <a:off x="4354894" y="3645850"/>
            <a:ext cx="5835704" cy="313900"/>
          </a:xfrm>
        </p:spPr>
        <p:txBody>
          <a:bodyPr/>
          <a:lstStyle/>
          <a:p>
            <a:r>
              <a:rPr lang="de-DE" sz="1300" dirty="0"/>
              <a:t>Für Fragen und Support rund um die Vorbereitung des Use Cases:</a:t>
            </a:r>
          </a:p>
        </p:txBody>
      </p:sp>
      <p:sp>
        <p:nvSpPr>
          <p:cNvPr id="8" name="Textplatzhalter 7">
            <a:extLst>
              <a:ext uri="{FF2B5EF4-FFF2-40B4-BE49-F238E27FC236}">
                <a16:creationId xmlns:a16="http://schemas.microsoft.com/office/drawing/2014/main" id="{176BA1F6-3AA2-0831-4D47-087BA226F7F2}"/>
              </a:ext>
            </a:extLst>
          </p:cNvPr>
          <p:cNvSpPr>
            <a:spLocks noGrp="1"/>
          </p:cNvSpPr>
          <p:nvPr>
            <p:ph type="body" idx="1"/>
          </p:nvPr>
        </p:nvSpPr>
        <p:spPr>
          <a:xfrm>
            <a:off x="539999" y="3645850"/>
            <a:ext cx="3348509" cy="425218"/>
          </a:xfrm>
        </p:spPr>
        <p:txBody>
          <a:bodyPr/>
          <a:lstStyle/>
          <a:p>
            <a:r>
              <a:rPr lang="de-DE" sz="1300" dirty="0"/>
              <a:t>Für organisatorische Rückfragen und zur Einreichung des Use Cases bis zum </a:t>
            </a:r>
            <a:r>
              <a:rPr lang="de-DE" sz="1300" b="1" dirty="0"/>
              <a:t>22.11.24</a:t>
            </a:r>
            <a:r>
              <a:rPr lang="de-DE" sz="1300" dirty="0"/>
              <a:t>:</a:t>
            </a:r>
          </a:p>
          <a:p>
            <a:endParaRPr lang="de-DE" sz="1300" dirty="0"/>
          </a:p>
          <a:p>
            <a:endParaRPr lang="de-DE" sz="1300" dirty="0"/>
          </a:p>
          <a:p>
            <a:endParaRPr lang="de-DE" sz="1300" dirty="0"/>
          </a:p>
          <a:p>
            <a:endParaRPr lang="de-DE" sz="1300" dirty="0"/>
          </a:p>
        </p:txBody>
      </p:sp>
      <p:sp>
        <p:nvSpPr>
          <p:cNvPr id="9" name="Textplatzhalter 8">
            <a:extLst>
              <a:ext uri="{FF2B5EF4-FFF2-40B4-BE49-F238E27FC236}">
                <a16:creationId xmlns:a16="http://schemas.microsoft.com/office/drawing/2014/main" id="{E249260A-5934-6FF6-BEED-175F2E0DD4A5}"/>
              </a:ext>
            </a:extLst>
          </p:cNvPr>
          <p:cNvSpPr>
            <a:spLocks noGrp="1"/>
          </p:cNvSpPr>
          <p:nvPr>
            <p:ph type="body" idx="13"/>
          </p:nvPr>
        </p:nvSpPr>
        <p:spPr/>
        <p:txBody>
          <a:bodyPr/>
          <a:lstStyle/>
          <a:p>
            <a:r>
              <a:rPr lang="de-DE" dirty="0"/>
              <a:t>Wir sind gespannt auf Ihren Use Case!</a:t>
            </a:r>
          </a:p>
        </p:txBody>
      </p:sp>
      <p:sp>
        <p:nvSpPr>
          <p:cNvPr id="12" name="Textplatzhalter 7">
            <a:extLst>
              <a:ext uri="{FF2B5EF4-FFF2-40B4-BE49-F238E27FC236}">
                <a16:creationId xmlns:a16="http://schemas.microsoft.com/office/drawing/2014/main" id="{F15AFD17-EB00-3279-F610-98CA17A72AF2}"/>
              </a:ext>
            </a:extLst>
          </p:cNvPr>
          <p:cNvSpPr txBox="1">
            <a:spLocks/>
          </p:cNvSpPr>
          <p:nvPr/>
        </p:nvSpPr>
        <p:spPr>
          <a:xfrm>
            <a:off x="7465138" y="5391301"/>
            <a:ext cx="2880000" cy="1287485"/>
          </a:xfrm>
          <a:prstGeom prst="rect">
            <a:avLst/>
          </a:prstGeom>
          <a:noFill/>
        </p:spPr>
        <p:txBody>
          <a:bodyPr vert="horz" lIns="0" tIns="0" rIns="0" bIns="0" rtlCol="0">
            <a:noAutofit/>
          </a:bodyPr>
          <a:lstStyle>
            <a:lvl1pPr marL="0" indent="0" algn="l" defTabSz="914400" rtl="0" eaLnBrk="1" latinLnBrk="0" hangingPunct="1">
              <a:lnSpc>
                <a:spcPts val="1800"/>
              </a:lnSpc>
              <a:spcBef>
                <a:spcPts val="300"/>
              </a:spcBef>
              <a:spcAft>
                <a:spcPts val="300"/>
              </a:spcAft>
              <a:buClr>
                <a:schemeClr val="accent2"/>
              </a:buClr>
              <a:buSzPct val="100000"/>
              <a:buFont typeface="Verdana" panose="020B0604030504040204" pitchFamily="34" charset="0"/>
              <a:buNone/>
              <a:tabLst>
                <a:tab pos="182563" algn="l"/>
              </a:tabLst>
              <a:defRPr lang="en-US" sz="1400" b="0" kern="1200" baseline="0" noProof="0" dirty="0">
                <a:solidFill>
                  <a:schemeClr val="tx2"/>
                </a:solidFill>
                <a:latin typeface="+mn-lt"/>
                <a:ea typeface="+mn-ea"/>
                <a:cs typeface="+mn-cs"/>
              </a:defRPr>
            </a:lvl1pPr>
            <a:lvl2pPr marL="216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kern="1200" dirty="0">
                <a:solidFill>
                  <a:schemeClr val="tx2"/>
                </a:solidFill>
                <a:latin typeface="+mn-lt"/>
                <a:ea typeface="+mn-ea"/>
                <a:cs typeface="+mn-cs"/>
              </a:defRPr>
            </a:lvl2pPr>
            <a:lvl3pPr marL="432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b="0" kern="1200" baseline="0" noProof="0" dirty="0" smtClean="0">
                <a:solidFill>
                  <a:schemeClr val="tx2"/>
                </a:solidFill>
                <a:latin typeface="+mn-lt"/>
                <a:ea typeface="+mn-ea"/>
                <a:cs typeface="+mn-cs"/>
              </a:defRPr>
            </a:lvl3pPr>
            <a:lvl4pPr marL="648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b="0" kern="1200" cap="none" spc="10" baseline="0" noProof="0" dirty="0" smtClean="0">
                <a:solidFill>
                  <a:schemeClr val="tx1"/>
                </a:solidFill>
                <a:latin typeface="+mn-lt"/>
                <a:ea typeface="+mn-ea"/>
                <a:cs typeface="Segoe UI Light" panose="020B0502040204020203" pitchFamily="34" charset="0"/>
              </a:defRPr>
            </a:lvl4pPr>
            <a:lvl5pPr marL="0" indent="0" algn="l" defTabSz="914400" rtl="0" eaLnBrk="1" latinLnBrk="0" hangingPunct="1">
              <a:lnSpc>
                <a:spcPts val="1800"/>
              </a:lnSpc>
              <a:spcBef>
                <a:spcPts val="600"/>
              </a:spcBef>
              <a:spcAft>
                <a:spcPts val="300"/>
              </a:spcAft>
              <a:buFont typeface="Arial" panose="020B0604020202020204" pitchFamily="34" charset="0"/>
              <a:buNone/>
              <a:tabLst>
                <a:tab pos="182563" algn="l"/>
              </a:tabLst>
              <a:defRPr lang="nl-NL" sz="1400" b="0" kern="1200" spc="40" baseline="0" noProof="0" dirty="0">
                <a:gradFill>
                  <a:gsLst>
                    <a:gs pos="0">
                      <a:srgbClr val="FF4B4B"/>
                    </a:gs>
                    <a:gs pos="100000">
                      <a:srgbClr val="FF744F"/>
                    </a:gs>
                  </a:gsLst>
                  <a:lin ang="18900000" scaled="0"/>
                </a:gradFill>
                <a:latin typeface="+mj-lt"/>
                <a:ea typeface="+mn-ea"/>
                <a:cs typeface="+mn-cs"/>
              </a:defRPr>
            </a:lvl5pPr>
            <a:lvl6pPr marL="216000" indent="-216000" algn="l" defTabSz="914400" rtl="0" eaLnBrk="1" latinLnBrk="0" hangingPunct="1">
              <a:lnSpc>
                <a:spcPts val="1800"/>
              </a:lnSpc>
              <a:spcBef>
                <a:spcPts val="300"/>
              </a:spcBef>
              <a:spcAft>
                <a:spcPts val="300"/>
              </a:spcAft>
              <a:buClr>
                <a:schemeClr val="accent1"/>
              </a:buClr>
              <a:buFont typeface="+mj-lt"/>
              <a:buAutoNum type="arabicPeriod"/>
              <a:tabLst>
                <a:tab pos="182563" algn="l"/>
              </a:tabLst>
              <a:defRPr lang="en-US" sz="1400" b="0" kern="1200" cap="none" spc="40" baseline="0" noProof="0" dirty="0">
                <a:solidFill>
                  <a:schemeClr val="tx1"/>
                </a:solidFill>
                <a:latin typeface="+mn-lt"/>
                <a:ea typeface="Segoe UI Black" panose="020B0A02040204020203" pitchFamily="34" charset="0"/>
                <a:cs typeface="Segoe UI Light" panose="020B0502040204020203" pitchFamily="34" charset="0"/>
              </a:defRPr>
            </a:lvl6pPr>
            <a:lvl7pPr marL="432000" indent="-216000" algn="l" defTabSz="914400" rtl="0" eaLnBrk="1" latinLnBrk="0" hangingPunct="1">
              <a:lnSpc>
                <a:spcPts val="1800"/>
              </a:lnSpc>
              <a:spcBef>
                <a:spcPts val="300"/>
              </a:spcBef>
              <a:spcAft>
                <a:spcPts val="300"/>
              </a:spcAft>
              <a:buClr>
                <a:schemeClr val="accent1"/>
              </a:buClr>
              <a:buFont typeface="+mj-lt"/>
              <a:buAutoNum type="alphaLcPeriod"/>
              <a:tabLst>
                <a:tab pos="182563" algn="l"/>
              </a:tabLst>
              <a:defRPr lang="nl-NL" sz="1400" kern="1200" noProof="0" dirty="0">
                <a:solidFill>
                  <a:schemeClr val="tx2"/>
                </a:solidFill>
                <a:latin typeface="+mn-lt"/>
                <a:ea typeface="+mn-ea"/>
                <a:cs typeface="+mn-cs"/>
              </a:defRPr>
            </a:lvl7pPr>
            <a:lvl8pPr marL="216000" indent="-216000" algn="l" defTabSz="914400" rtl="0" eaLnBrk="1" latinLnBrk="0" hangingPunct="1">
              <a:lnSpc>
                <a:spcPts val="1800"/>
              </a:lnSpc>
              <a:spcBef>
                <a:spcPts val="300"/>
              </a:spcBef>
              <a:spcAft>
                <a:spcPts val="300"/>
              </a:spcAft>
              <a:buClr>
                <a:schemeClr val="tx2"/>
              </a:buClr>
              <a:buFont typeface="Wingdings 3" panose="05040102010807070707" pitchFamily="18" charset="2"/>
              <a:buChar char="g"/>
              <a:tabLst>
                <a:tab pos="182563" algn="l"/>
              </a:tabLst>
              <a:defRPr lang="nl-NL" sz="1400" kern="1200" noProof="0" dirty="0" smtClean="0">
                <a:solidFill>
                  <a:schemeClr val="tx2"/>
                </a:solidFill>
                <a:latin typeface="+mn-lt"/>
                <a:ea typeface="+mn-ea"/>
                <a:cs typeface="+mn-cs"/>
              </a:defRPr>
            </a:lvl8pPr>
            <a:lvl9pPr marL="0" indent="0" algn="l" defTabSz="914400" rtl="0" eaLnBrk="1" latinLnBrk="0" hangingPunct="1">
              <a:lnSpc>
                <a:spcPts val="1800"/>
              </a:lnSpc>
              <a:spcBef>
                <a:spcPts val="600"/>
              </a:spcBef>
              <a:spcAft>
                <a:spcPts val="300"/>
              </a:spcAft>
              <a:buClr>
                <a:schemeClr val="accent4"/>
              </a:buClr>
              <a:buFontTx/>
              <a:buNone/>
              <a:tabLst>
                <a:tab pos="182563" algn="l"/>
              </a:tabLst>
              <a:defRPr lang="nl-NL" sz="1400" i="0" kern="1200" cap="all" spc="100" baseline="0" noProof="0" dirty="0" smtClean="0">
                <a:solidFill>
                  <a:schemeClr val="tx2"/>
                </a:solidFill>
                <a:latin typeface="+mj-lt"/>
                <a:ea typeface="+mn-ea"/>
                <a:cs typeface="+mn-cs"/>
              </a:defRPr>
            </a:lvl9pPr>
          </a:lstStyle>
          <a:p>
            <a:pPr>
              <a:lnSpc>
                <a:spcPct val="100000"/>
              </a:lnSpc>
              <a:spcBef>
                <a:spcPts val="0"/>
              </a:spcBef>
            </a:pPr>
            <a:r>
              <a:rPr lang="de-DE" sz="1300" dirty="0"/>
              <a:t>Hassan El Zein</a:t>
            </a:r>
          </a:p>
          <a:p>
            <a:pPr>
              <a:lnSpc>
                <a:spcPct val="100000"/>
              </a:lnSpc>
              <a:spcBef>
                <a:spcPts val="0"/>
              </a:spcBef>
            </a:pPr>
            <a:r>
              <a:rPr lang="en-US" sz="1300" dirty="0"/>
              <a:t>Senior Consultant und </a:t>
            </a:r>
            <a:r>
              <a:rPr lang="en-US" sz="1300" dirty="0" err="1"/>
              <a:t>Mitglied</a:t>
            </a:r>
            <a:r>
              <a:rPr lang="en-US" sz="1300" dirty="0"/>
              <a:t> </a:t>
            </a:r>
            <a:br>
              <a:rPr lang="en-US" sz="1300" dirty="0"/>
            </a:br>
            <a:r>
              <a:rPr lang="en-US" sz="1300" dirty="0"/>
              <a:t>der valantic AI Taskforce</a:t>
            </a:r>
            <a:endParaRPr lang="de-DE" sz="1300" dirty="0"/>
          </a:p>
          <a:p>
            <a:pPr>
              <a:lnSpc>
                <a:spcPct val="100000"/>
              </a:lnSpc>
              <a:spcBef>
                <a:spcPts val="0"/>
              </a:spcBef>
            </a:pPr>
            <a:r>
              <a:rPr lang="de-DE" sz="1300" dirty="0">
                <a:hlinkClick r:id="rId3"/>
              </a:rPr>
              <a:t>hassan.el-zein@orianda.com</a:t>
            </a:r>
            <a:r>
              <a:rPr lang="de-DE" sz="1300" dirty="0"/>
              <a:t> </a:t>
            </a:r>
          </a:p>
        </p:txBody>
      </p:sp>
      <p:pic>
        <p:nvPicPr>
          <p:cNvPr id="14" name="Grafik 13" descr="Ein Bild, das Menschliches Gesicht, Person, Lächeln, Kleidung enthält.&#10;&#10;Automatisch generierte Beschreibung">
            <a:extLst>
              <a:ext uri="{FF2B5EF4-FFF2-40B4-BE49-F238E27FC236}">
                <a16:creationId xmlns:a16="http://schemas.microsoft.com/office/drawing/2014/main" id="{C4A60B02-95A5-05EE-BFB2-58FC73E9E8C9}"/>
              </a:ext>
            </a:extLst>
          </p:cNvPr>
          <p:cNvPicPr>
            <a:picLocks noChangeAspect="1"/>
          </p:cNvPicPr>
          <p:nvPr/>
        </p:nvPicPr>
        <p:blipFill>
          <a:blip r:embed="rId4"/>
          <a:stretch>
            <a:fillRect/>
          </a:stretch>
        </p:blipFill>
        <p:spPr>
          <a:xfrm>
            <a:off x="7465138" y="4199133"/>
            <a:ext cx="1080000" cy="1080000"/>
          </a:xfrm>
          <a:prstGeom prst="rect">
            <a:avLst/>
          </a:prstGeom>
        </p:spPr>
      </p:pic>
      <p:pic>
        <p:nvPicPr>
          <p:cNvPr id="16" name="Grafik 15" descr="Ein Bild, das Menschliches Gesicht, Mann, Person, Bart enthält.&#10;&#10;Automatisch generierte Beschreibung">
            <a:extLst>
              <a:ext uri="{FF2B5EF4-FFF2-40B4-BE49-F238E27FC236}">
                <a16:creationId xmlns:a16="http://schemas.microsoft.com/office/drawing/2014/main" id="{35C48E97-4D74-CEBA-2F1B-9DAB9C8CC4C9}"/>
              </a:ext>
            </a:extLst>
          </p:cNvPr>
          <p:cNvPicPr>
            <a:picLocks noChangeAspect="1"/>
          </p:cNvPicPr>
          <p:nvPr/>
        </p:nvPicPr>
        <p:blipFill>
          <a:blip r:embed="rId5"/>
          <a:stretch>
            <a:fillRect/>
          </a:stretch>
        </p:blipFill>
        <p:spPr>
          <a:xfrm>
            <a:off x="4354894" y="4203109"/>
            <a:ext cx="1080000" cy="1080000"/>
          </a:xfrm>
          <a:prstGeom prst="rect">
            <a:avLst/>
          </a:prstGeom>
        </p:spPr>
      </p:pic>
      <p:pic>
        <p:nvPicPr>
          <p:cNvPr id="18" name="Grafik 17" descr="Ein Bild, das Menschliches Gesicht, Person, Porträt, Augenbraue enthält.&#10;&#10;Automatisch generierte Beschreibung">
            <a:extLst>
              <a:ext uri="{FF2B5EF4-FFF2-40B4-BE49-F238E27FC236}">
                <a16:creationId xmlns:a16="http://schemas.microsoft.com/office/drawing/2014/main" id="{7F7D3BA4-2D8D-F836-56EE-DE0464B9E298}"/>
              </a:ext>
            </a:extLst>
          </p:cNvPr>
          <p:cNvPicPr>
            <a:picLocks noChangeAspect="1"/>
          </p:cNvPicPr>
          <p:nvPr/>
        </p:nvPicPr>
        <p:blipFill>
          <a:blip r:embed="rId6"/>
          <a:stretch>
            <a:fillRect/>
          </a:stretch>
        </p:blipFill>
        <p:spPr>
          <a:xfrm>
            <a:off x="540000" y="4199133"/>
            <a:ext cx="1080000" cy="1080000"/>
          </a:xfrm>
          <a:prstGeom prst="rect">
            <a:avLst/>
          </a:prstGeom>
        </p:spPr>
      </p:pic>
      <p:sp>
        <p:nvSpPr>
          <p:cNvPr id="19" name="Textplatzhalter 10">
            <a:extLst>
              <a:ext uri="{FF2B5EF4-FFF2-40B4-BE49-F238E27FC236}">
                <a16:creationId xmlns:a16="http://schemas.microsoft.com/office/drawing/2014/main" id="{A3987655-3D2D-B039-F13A-2C62B5DAF17B}"/>
              </a:ext>
            </a:extLst>
          </p:cNvPr>
          <p:cNvSpPr txBox="1">
            <a:spLocks/>
          </p:cNvSpPr>
          <p:nvPr/>
        </p:nvSpPr>
        <p:spPr>
          <a:xfrm>
            <a:off x="526851" y="5398930"/>
            <a:ext cx="2943403" cy="894136"/>
          </a:xfrm>
          <a:prstGeom prst="rect">
            <a:avLst/>
          </a:prstGeom>
          <a:noFill/>
        </p:spPr>
        <p:txBody>
          <a:bodyPr vert="horz" lIns="0" tIns="0" rIns="0" bIns="0" rtlCol="0">
            <a:noAutofit/>
          </a:bodyPr>
          <a:lstStyle>
            <a:lvl1pPr marL="0" indent="0" algn="l" defTabSz="914400" rtl="0" eaLnBrk="1" latinLnBrk="0" hangingPunct="1">
              <a:lnSpc>
                <a:spcPts val="1800"/>
              </a:lnSpc>
              <a:spcBef>
                <a:spcPts val="300"/>
              </a:spcBef>
              <a:spcAft>
                <a:spcPts val="300"/>
              </a:spcAft>
              <a:buClr>
                <a:schemeClr val="accent2"/>
              </a:buClr>
              <a:buSzPct val="100000"/>
              <a:buFont typeface="Verdana" panose="020B0604030504040204" pitchFamily="34" charset="0"/>
              <a:buNone/>
              <a:tabLst>
                <a:tab pos="182563" algn="l"/>
              </a:tabLst>
              <a:defRPr lang="en-US" sz="1400" b="0" kern="1200" baseline="0" noProof="0" dirty="0">
                <a:solidFill>
                  <a:schemeClr val="tx2"/>
                </a:solidFill>
                <a:latin typeface="+mn-lt"/>
                <a:ea typeface="+mn-ea"/>
                <a:cs typeface="+mn-cs"/>
              </a:defRPr>
            </a:lvl1pPr>
            <a:lvl2pPr marL="216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kern="1200" dirty="0">
                <a:solidFill>
                  <a:schemeClr val="tx2"/>
                </a:solidFill>
                <a:latin typeface="+mn-lt"/>
                <a:ea typeface="+mn-ea"/>
                <a:cs typeface="+mn-cs"/>
              </a:defRPr>
            </a:lvl2pPr>
            <a:lvl3pPr marL="432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b="0" kern="1200" baseline="0" noProof="0" dirty="0" smtClean="0">
                <a:solidFill>
                  <a:schemeClr val="tx2"/>
                </a:solidFill>
                <a:latin typeface="+mn-lt"/>
                <a:ea typeface="+mn-ea"/>
                <a:cs typeface="+mn-cs"/>
              </a:defRPr>
            </a:lvl3pPr>
            <a:lvl4pPr marL="648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b="0" kern="1200" cap="none" spc="10" baseline="0" noProof="0" dirty="0" smtClean="0">
                <a:solidFill>
                  <a:schemeClr val="tx1"/>
                </a:solidFill>
                <a:latin typeface="+mn-lt"/>
                <a:ea typeface="+mn-ea"/>
                <a:cs typeface="Segoe UI Light" panose="020B0502040204020203" pitchFamily="34" charset="0"/>
              </a:defRPr>
            </a:lvl4pPr>
            <a:lvl5pPr marL="0" indent="0" algn="l" defTabSz="914400" rtl="0" eaLnBrk="1" latinLnBrk="0" hangingPunct="1">
              <a:lnSpc>
                <a:spcPts val="1800"/>
              </a:lnSpc>
              <a:spcBef>
                <a:spcPts val="600"/>
              </a:spcBef>
              <a:spcAft>
                <a:spcPts val="300"/>
              </a:spcAft>
              <a:buFont typeface="Arial" panose="020B0604020202020204" pitchFamily="34" charset="0"/>
              <a:buNone/>
              <a:tabLst>
                <a:tab pos="182563" algn="l"/>
              </a:tabLst>
              <a:defRPr lang="nl-NL" sz="1400" b="0" kern="1200" spc="40" baseline="0" noProof="0" dirty="0">
                <a:gradFill>
                  <a:gsLst>
                    <a:gs pos="0">
                      <a:srgbClr val="FF4B4B"/>
                    </a:gs>
                    <a:gs pos="100000">
                      <a:srgbClr val="FF744F"/>
                    </a:gs>
                  </a:gsLst>
                  <a:lin ang="18900000" scaled="0"/>
                </a:gradFill>
                <a:latin typeface="+mj-lt"/>
                <a:ea typeface="+mn-ea"/>
                <a:cs typeface="+mn-cs"/>
              </a:defRPr>
            </a:lvl5pPr>
            <a:lvl6pPr marL="216000" indent="-216000" algn="l" defTabSz="914400" rtl="0" eaLnBrk="1" latinLnBrk="0" hangingPunct="1">
              <a:lnSpc>
                <a:spcPts val="1800"/>
              </a:lnSpc>
              <a:spcBef>
                <a:spcPts val="300"/>
              </a:spcBef>
              <a:spcAft>
                <a:spcPts val="300"/>
              </a:spcAft>
              <a:buClr>
                <a:schemeClr val="accent1"/>
              </a:buClr>
              <a:buFont typeface="+mj-lt"/>
              <a:buAutoNum type="arabicPeriod"/>
              <a:tabLst>
                <a:tab pos="182563" algn="l"/>
              </a:tabLst>
              <a:defRPr lang="en-US" sz="1400" b="0" kern="1200" cap="none" spc="40" baseline="0" noProof="0" dirty="0">
                <a:solidFill>
                  <a:schemeClr val="tx1"/>
                </a:solidFill>
                <a:latin typeface="+mn-lt"/>
                <a:ea typeface="Segoe UI Black" panose="020B0A02040204020203" pitchFamily="34" charset="0"/>
                <a:cs typeface="Segoe UI Light" panose="020B0502040204020203" pitchFamily="34" charset="0"/>
              </a:defRPr>
            </a:lvl6pPr>
            <a:lvl7pPr marL="432000" indent="-216000" algn="l" defTabSz="914400" rtl="0" eaLnBrk="1" latinLnBrk="0" hangingPunct="1">
              <a:lnSpc>
                <a:spcPts val="1800"/>
              </a:lnSpc>
              <a:spcBef>
                <a:spcPts val="300"/>
              </a:spcBef>
              <a:spcAft>
                <a:spcPts val="300"/>
              </a:spcAft>
              <a:buClr>
                <a:schemeClr val="accent1"/>
              </a:buClr>
              <a:buFont typeface="+mj-lt"/>
              <a:buAutoNum type="alphaLcPeriod"/>
              <a:tabLst>
                <a:tab pos="182563" algn="l"/>
              </a:tabLst>
              <a:defRPr lang="nl-NL" sz="1400" kern="1200" noProof="0" dirty="0">
                <a:solidFill>
                  <a:schemeClr val="tx2"/>
                </a:solidFill>
                <a:latin typeface="+mn-lt"/>
                <a:ea typeface="+mn-ea"/>
                <a:cs typeface="+mn-cs"/>
              </a:defRPr>
            </a:lvl7pPr>
            <a:lvl8pPr marL="216000" indent="-216000" algn="l" defTabSz="914400" rtl="0" eaLnBrk="1" latinLnBrk="0" hangingPunct="1">
              <a:lnSpc>
                <a:spcPts val="1800"/>
              </a:lnSpc>
              <a:spcBef>
                <a:spcPts val="300"/>
              </a:spcBef>
              <a:spcAft>
                <a:spcPts val="300"/>
              </a:spcAft>
              <a:buClr>
                <a:schemeClr val="tx2"/>
              </a:buClr>
              <a:buFont typeface="Wingdings 3" panose="05040102010807070707" pitchFamily="18" charset="2"/>
              <a:buChar char="g"/>
              <a:tabLst>
                <a:tab pos="182563" algn="l"/>
              </a:tabLst>
              <a:defRPr lang="nl-NL" sz="1400" kern="1200" noProof="0" dirty="0" smtClean="0">
                <a:solidFill>
                  <a:schemeClr val="tx2"/>
                </a:solidFill>
                <a:latin typeface="+mn-lt"/>
                <a:ea typeface="+mn-ea"/>
                <a:cs typeface="+mn-cs"/>
              </a:defRPr>
            </a:lvl8pPr>
            <a:lvl9pPr marL="0" indent="0" algn="l" defTabSz="914400" rtl="0" eaLnBrk="1" latinLnBrk="0" hangingPunct="1">
              <a:lnSpc>
                <a:spcPts val="1800"/>
              </a:lnSpc>
              <a:spcBef>
                <a:spcPts val="600"/>
              </a:spcBef>
              <a:spcAft>
                <a:spcPts val="300"/>
              </a:spcAft>
              <a:buClr>
                <a:schemeClr val="accent4"/>
              </a:buClr>
              <a:buFontTx/>
              <a:buNone/>
              <a:tabLst>
                <a:tab pos="182563" algn="l"/>
              </a:tabLst>
              <a:defRPr lang="nl-NL" sz="1400" i="0" kern="1200" cap="all" spc="100" baseline="0" noProof="0" dirty="0" smtClean="0">
                <a:solidFill>
                  <a:schemeClr val="tx2"/>
                </a:solidFill>
                <a:latin typeface="+mj-lt"/>
                <a:ea typeface="+mn-ea"/>
                <a:cs typeface="+mn-cs"/>
              </a:defRPr>
            </a:lvl9pPr>
          </a:lstStyle>
          <a:p>
            <a:pPr>
              <a:lnSpc>
                <a:spcPct val="100000"/>
              </a:lnSpc>
              <a:spcBef>
                <a:spcPts val="0"/>
              </a:spcBef>
            </a:pPr>
            <a:r>
              <a:rPr lang="de-DE" sz="1300" dirty="0"/>
              <a:t>Caroline Herrmann</a:t>
            </a:r>
          </a:p>
          <a:p>
            <a:pPr>
              <a:lnSpc>
                <a:spcPct val="100000"/>
              </a:lnSpc>
              <a:spcBef>
                <a:spcPts val="0"/>
              </a:spcBef>
            </a:pPr>
            <a:r>
              <a:rPr lang="de-DE" sz="1300" dirty="0"/>
              <a:t>Head </a:t>
            </a:r>
            <a:r>
              <a:rPr lang="de-DE" sz="1300" dirty="0" err="1"/>
              <a:t>of</a:t>
            </a:r>
            <a:r>
              <a:rPr lang="de-DE" sz="1300" dirty="0"/>
              <a:t> Marketing valantic SAP Services</a:t>
            </a:r>
          </a:p>
          <a:p>
            <a:pPr>
              <a:lnSpc>
                <a:spcPct val="100000"/>
              </a:lnSpc>
              <a:spcBef>
                <a:spcPts val="0"/>
              </a:spcBef>
            </a:pPr>
            <a:r>
              <a:rPr lang="de-DE" sz="1300" dirty="0">
                <a:hlinkClick r:id="rId7"/>
              </a:rPr>
              <a:t>Marketing@erp.valantic.com</a:t>
            </a:r>
            <a:r>
              <a:rPr lang="de-DE" sz="1300" dirty="0"/>
              <a:t> </a:t>
            </a:r>
          </a:p>
          <a:p>
            <a:pPr>
              <a:lnSpc>
                <a:spcPct val="100000"/>
              </a:lnSpc>
              <a:spcBef>
                <a:spcPts val="0"/>
              </a:spcBef>
            </a:pPr>
            <a:endParaRPr lang="de-DE" sz="1300" dirty="0"/>
          </a:p>
          <a:p>
            <a:pPr>
              <a:lnSpc>
                <a:spcPct val="100000"/>
              </a:lnSpc>
              <a:spcBef>
                <a:spcPts val="0"/>
              </a:spcBef>
            </a:pPr>
            <a:endParaRPr lang="de-DE" sz="1300" dirty="0"/>
          </a:p>
        </p:txBody>
      </p:sp>
    </p:spTree>
    <p:extLst>
      <p:ext uri="{BB962C8B-B14F-4D97-AF65-F5344CB8AC3E}">
        <p14:creationId xmlns:p14="http://schemas.microsoft.com/office/powerpoint/2010/main" val="27507625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gfDBDpbUyIslDyU9TLd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gfDBDpbUyIslDyU9TLdJQ"/>
</p:tagLst>
</file>

<file path=ppt/theme/theme1.xml><?xml version="1.0" encoding="utf-8"?>
<a:theme xmlns:a="http://schemas.openxmlformats.org/drawingml/2006/main" name="Route_B_valantic_2024">
  <a:themeElements>
    <a:clrScheme name="valantic 2023">
      <a:dk1>
        <a:srgbClr val="100C2A"/>
      </a:dk1>
      <a:lt1>
        <a:srgbClr val="FFFFFF"/>
      </a:lt1>
      <a:dk2>
        <a:srgbClr val="100C2A"/>
      </a:dk2>
      <a:lt2>
        <a:srgbClr val="FFFFFF"/>
      </a:lt2>
      <a:accent1>
        <a:srgbClr val="193773"/>
      </a:accent1>
      <a:accent2>
        <a:srgbClr val="3C4BC8"/>
      </a:accent2>
      <a:accent3>
        <a:srgbClr val="5B26B7"/>
      </a:accent3>
      <a:accent4>
        <a:srgbClr val="CDCDCD"/>
      </a:accent4>
      <a:accent5>
        <a:srgbClr val="A78DB6"/>
      </a:accent5>
      <a:accent6>
        <a:srgbClr val="C0AA81"/>
      </a:accent6>
      <a:hlink>
        <a:srgbClr val="8993DE"/>
      </a:hlink>
      <a:folHlink>
        <a:srgbClr val="999999"/>
      </a:folHlink>
    </a:clrScheme>
    <a:fontScheme name="valantic B">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0">
              <a:srgbClr val="EF4251"/>
            </a:gs>
            <a:gs pos="100000">
              <a:srgbClr val="F4704D"/>
            </a:gs>
          </a:gsLst>
          <a:lin ang="18900000" scaled="0"/>
        </a:gradFill>
        <a:ln w="9525" cap="flat">
          <a:noFill/>
          <a:prstDash val="solid"/>
          <a:miter/>
        </a:ln>
      </a:spPr>
      <a:bodyPr lIns="36000" tIns="36000" rIns="36000" bIns="36000" rtlCol="0" anchor="ctr" anchorCtr="0"/>
      <a:lstStyle>
        <a:defPPr algn="ctr">
          <a:spcBef>
            <a:spcPts val="600"/>
          </a:spcBef>
          <a:spcAft>
            <a:spcPts val="600"/>
          </a:spcAft>
          <a:defRPr sz="1200" b="1" smtClean="0">
            <a:solidFill>
              <a:schemeClr val="bg1"/>
            </a:solidFill>
            <a:latin typeface="+mj-lt"/>
          </a:defRPr>
        </a:defPPr>
      </a:lstStyle>
    </a:spDef>
    <a:lnDef>
      <a:spPr>
        <a:ln w="6350" cap="rnd">
          <a:solidFill>
            <a:schemeClr val="tx2"/>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vert="horz" lIns="0" tIns="0" rIns="0" bIns="0" rtlCol="0">
        <a:noAutofit/>
      </a:bodyPr>
      <a:lstStyle>
        <a:defPPr algn="l">
          <a:defRPr/>
        </a:defPPr>
      </a:lstStyle>
    </a:txDef>
  </a:objectDefaults>
  <a:extraClrSchemeLst/>
  <a:custClrLst>
    <a:custClr name="coralred">
      <a:srgbClr val="FF4B4B"/>
    </a:custClr>
    <a:custClr name="peach">
      <a:srgbClr val="FF744F"/>
    </a:custClr>
    <a:custClr name="white">
      <a:srgbClr val="FFFFFF"/>
    </a:custClr>
    <a:custClr name="white">
      <a:srgbClr val="FFFFFF"/>
    </a:custClr>
    <a:custClr name="white">
      <a:srgbClr val="FFFFFF"/>
    </a:custClr>
    <a:custClr name="white">
      <a:srgbClr val="FFFFFF"/>
    </a:custClr>
    <a:custClr name="traffic red">
      <a:srgbClr val="F70000"/>
    </a:custClr>
    <a:custClr name="traffic yellow">
      <a:srgbClr val="EBC832"/>
    </a:custClr>
    <a:custClr name="traffic green">
      <a:srgbClr val="78BE3C"/>
    </a:custClr>
  </a:custClrLst>
  <a:extLst>
    <a:ext uri="{05A4C25C-085E-4340-85A3-A5531E510DB2}">
      <thm15:themeFamily xmlns:thm15="http://schemas.microsoft.com/office/thememl/2012/main" name="Presentation7" id="{7E93D22B-6469-456B-89FC-672C22C26FE8}" vid="{CDC5907A-8FF1-4C13-923D-9E3F5FD83E6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9AC3631734E4A4293D0A4C65743F2D7" ma:contentTypeVersion="4" ma:contentTypeDescription="Ein neues Dokument erstellen." ma:contentTypeScope="" ma:versionID="f5365dccef115388b4b9defea0bb5392">
  <xsd:schema xmlns:xsd="http://www.w3.org/2001/XMLSchema" xmlns:xs="http://www.w3.org/2001/XMLSchema" xmlns:p="http://schemas.microsoft.com/office/2006/metadata/properties" xmlns:ns2="d3b05b5d-6d33-4e4d-a275-0ad82dd11d86" targetNamespace="http://schemas.microsoft.com/office/2006/metadata/properties" ma:root="true" ma:fieldsID="f17db14cd88d25e6c284ab7c5877d186" ns2:_="">
    <xsd:import namespace="d3b05b5d-6d33-4e4d-a275-0ad82dd11d8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b05b5d-6d33-4e4d-a275-0ad82dd11d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3E48403-7B92-41AE-AD1A-E415EDDC05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b05b5d-6d33-4e4d-a275-0ad82dd11d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8FD9E53-B57D-4395-8495-3BEB62C8C2DB}">
  <ds:schemaRefs>
    <ds:schemaRef ds:uri="http://schemas.microsoft.com/sharepoint/v3/contenttype/forms"/>
  </ds:schemaRefs>
</ds:datastoreItem>
</file>

<file path=customXml/itemProps3.xml><?xml version="1.0" encoding="utf-8"?>
<ds:datastoreItem xmlns:ds="http://schemas.openxmlformats.org/officeDocument/2006/customXml" ds:itemID="{D18C61A5-48DE-4F1A-B3EE-E0D2E821BEF3}">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Route_B_valantic_2024</Template>
  <TotalTime>0</TotalTime>
  <Words>485</Words>
  <Application>Microsoft Office PowerPoint</Application>
  <PresentationFormat>Breitbild</PresentationFormat>
  <Paragraphs>74</Paragraphs>
  <Slides>5</Slides>
  <Notes>2</Notes>
  <HiddenSlides>0</HiddenSlides>
  <MMClips>0</MMClips>
  <ScaleCrop>false</ScaleCrop>
  <HeadingPairs>
    <vt:vector size="8" baseType="variant">
      <vt:variant>
        <vt:lpstr>Verwendete Schriftarten</vt:lpstr>
      </vt:variant>
      <vt:variant>
        <vt:i4>11</vt:i4>
      </vt:variant>
      <vt:variant>
        <vt:lpstr>Design</vt:lpstr>
      </vt:variant>
      <vt:variant>
        <vt:i4>1</vt:i4>
      </vt:variant>
      <vt:variant>
        <vt:lpstr>Eingebettete OLE-Server</vt:lpstr>
      </vt:variant>
      <vt:variant>
        <vt:i4>1</vt:i4>
      </vt:variant>
      <vt:variant>
        <vt:lpstr>Folientitel</vt:lpstr>
      </vt:variant>
      <vt:variant>
        <vt:i4>5</vt:i4>
      </vt:variant>
    </vt:vector>
  </HeadingPairs>
  <TitlesOfParts>
    <vt:vector size="18" baseType="lpstr">
      <vt:lpstr>Aptos</vt:lpstr>
      <vt:lpstr>Arial</vt:lpstr>
      <vt:lpstr>Calibri</vt:lpstr>
      <vt:lpstr>Helvetica</vt:lpstr>
      <vt:lpstr>Open Sans</vt:lpstr>
      <vt:lpstr>Segoe UI</vt:lpstr>
      <vt:lpstr>Segoe UI Light</vt:lpstr>
      <vt:lpstr>Segoe UI Semibold</vt:lpstr>
      <vt:lpstr>Segoe UI Semilight</vt:lpstr>
      <vt:lpstr>Verdana</vt:lpstr>
      <vt:lpstr>Wingdings 3</vt:lpstr>
      <vt:lpstr>Route_B_valantic_2024</vt:lpstr>
      <vt:lpstr>think-cell Folie</vt:lpstr>
      <vt:lpstr>Valantic &amp; SAP AI Hackathon </vt:lpstr>
      <vt:lpstr>1. Information zum Kunden und dessen Systemlandschaft</vt:lpstr>
      <vt:lpstr>2. Beschreibung des GenAI x SAP Use Case</vt:lpstr>
      <vt:lpstr>3. Ihr Hackathon Team</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aroline Herrmann</dc:creator>
  <cp:lastModifiedBy>Caroline Herrmann</cp:lastModifiedBy>
  <cp:revision>1</cp:revision>
  <dcterms:created xsi:type="dcterms:W3CDTF">2024-09-27T06:12:05Z</dcterms:created>
  <dcterms:modified xsi:type="dcterms:W3CDTF">2024-09-27T08:1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AC3631734E4A4293D0A4C65743F2D7</vt:lpwstr>
  </property>
</Properties>
</file>